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rawings/drawing2.xml" ContentType="application/vnd.openxmlformats-officedocument.drawingml.chartshape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charts/chart2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charts/chart22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charts/chart23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charts/chart24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charts/chart25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charts/chart26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charts/chart27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charts/chart28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charts/chart29.xml" ContentType="application/vnd.openxmlformats-officedocument.drawingml.chart+xml"/>
  <Override PartName="/ppt/charts/style29.xml" ContentType="application/vnd.ms-office.chartstyle+xml"/>
  <Override PartName="/ppt/charts/colors29.xml" ContentType="application/vnd.ms-office.chartcolorstyle+xml"/>
  <Override PartName="/ppt/charts/chart30.xml" ContentType="application/vnd.openxmlformats-officedocument.drawingml.chart+xml"/>
  <Override PartName="/ppt/charts/style30.xml" ContentType="application/vnd.ms-office.chartstyle+xml"/>
  <Override PartName="/ppt/charts/colors30.xml" ContentType="application/vnd.ms-office.chartcolorstyl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charts/chart31.xml" ContentType="application/vnd.openxmlformats-officedocument.drawingml.chart+xml"/>
  <Override PartName="/ppt/charts/style31.xml" ContentType="application/vnd.ms-office.chartstyle+xml"/>
  <Override PartName="/ppt/charts/colors31.xml" ContentType="application/vnd.ms-office.chartcolorstyl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charts/chart32.xml" ContentType="application/vnd.openxmlformats-officedocument.drawingml.chart+xml"/>
  <Override PartName="/ppt/charts/style32.xml" ContentType="application/vnd.ms-office.chartstyle+xml"/>
  <Override PartName="/ppt/charts/colors32.xml" ContentType="application/vnd.ms-office.chartcolorstyle+xml"/>
  <Override PartName="/ppt/charts/chart33.xml" ContentType="application/vnd.openxmlformats-officedocument.drawingml.chart+xml"/>
  <Override PartName="/ppt/charts/style33.xml" ContentType="application/vnd.ms-office.chartstyle+xml"/>
  <Override PartName="/ppt/charts/colors33.xml" ContentType="application/vnd.ms-office.chartcolorstyl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charts/chart34.xml" ContentType="application/vnd.openxmlformats-officedocument.drawingml.chart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charts/chart35.xml" ContentType="application/vnd.openxmlformats-officedocument.drawingml.chart+xml"/>
  <Override PartName="/ppt/charts/style34.xml" ContentType="application/vnd.ms-office.chartstyle+xml"/>
  <Override PartName="/ppt/charts/colors34.xml" ContentType="application/vnd.ms-office.chartcolorstyl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notesSlides/notesSlide1.xml" ContentType="application/vnd.openxmlformats-officedocument.presentationml.notesSlide+xml"/>
  <Override PartName="/ppt/charts/chart36.xml" ContentType="application/vnd.openxmlformats-officedocument.drawingml.chart+xml"/>
  <Override PartName="/ppt/charts/style35.xml" ContentType="application/vnd.ms-office.chartstyle+xml"/>
  <Override PartName="/ppt/charts/colors35.xml" ContentType="application/vnd.ms-office.chartcolorstyle+xml"/>
  <Override PartName="/ppt/charts/chart37.xml" ContentType="application/vnd.openxmlformats-officedocument.drawingml.chart+xml"/>
  <Override PartName="/ppt/charts/style36.xml" ContentType="application/vnd.ms-office.chartstyle+xml"/>
  <Override PartName="/ppt/charts/colors36.xml" ContentType="application/vnd.ms-office.chartcolorstyl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charts/chart38.xml" ContentType="application/vnd.openxmlformats-officedocument.drawingml.chart+xml"/>
  <Override PartName="/ppt/charts/style37.xml" ContentType="application/vnd.ms-office.chartstyle+xml"/>
  <Override PartName="/ppt/charts/colors37.xml" ContentType="application/vnd.ms-office.chartcolorstyl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36"/>
  </p:notesMasterIdLst>
  <p:handoutMasterIdLst>
    <p:handoutMasterId r:id="rId37"/>
  </p:handoutMasterIdLst>
  <p:sldIdLst>
    <p:sldId id="258" r:id="rId2"/>
    <p:sldId id="339" r:id="rId3"/>
    <p:sldId id="340" r:id="rId4"/>
    <p:sldId id="341" r:id="rId5"/>
    <p:sldId id="337" r:id="rId6"/>
    <p:sldId id="336" r:id="rId7"/>
    <p:sldId id="338" r:id="rId8"/>
    <p:sldId id="314" r:id="rId9"/>
    <p:sldId id="260" r:id="rId10"/>
    <p:sldId id="321" r:id="rId11"/>
    <p:sldId id="322" r:id="rId12"/>
    <p:sldId id="323" r:id="rId13"/>
    <p:sldId id="325" r:id="rId14"/>
    <p:sldId id="324" r:id="rId15"/>
    <p:sldId id="326" r:id="rId16"/>
    <p:sldId id="327" r:id="rId17"/>
    <p:sldId id="356" r:id="rId18"/>
    <p:sldId id="328" r:id="rId19"/>
    <p:sldId id="330" r:id="rId20"/>
    <p:sldId id="342" r:id="rId21"/>
    <p:sldId id="343" r:id="rId22"/>
    <p:sldId id="350" r:id="rId23"/>
    <p:sldId id="345" r:id="rId24"/>
    <p:sldId id="346" r:id="rId25"/>
    <p:sldId id="347" r:id="rId26"/>
    <p:sldId id="348" r:id="rId27"/>
    <p:sldId id="349" r:id="rId28"/>
    <p:sldId id="331" r:id="rId29"/>
    <p:sldId id="333" r:id="rId30"/>
    <p:sldId id="332" r:id="rId31"/>
    <p:sldId id="334" r:id="rId32"/>
    <p:sldId id="352" r:id="rId33"/>
    <p:sldId id="353" r:id="rId34"/>
    <p:sldId id="354" r:id="rId35"/>
  </p:sldIdLst>
  <p:sldSz cx="12192000" cy="6858000"/>
  <p:notesSz cx="6858000" cy="9144000"/>
  <p:custDataLst>
    <p:tags r:id="rId3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over" id="{EA0DC41E-9D38-425F-9623-F567E0BC4142}">
          <p14:sldIdLst>
            <p14:sldId id="258"/>
            <p14:sldId id="339"/>
            <p14:sldId id="340"/>
          </p14:sldIdLst>
        </p14:section>
        <p14:section name="Download" id="{24337197-6FE9-47C8-9C5C-2B4645002723}">
          <p14:sldIdLst>
            <p14:sldId id="341"/>
            <p14:sldId id="337"/>
            <p14:sldId id="336"/>
            <p14:sldId id="338"/>
          </p14:sldIdLst>
        </p14:section>
        <p14:section name="Active Users" id="{32E720DB-299D-4A07-9C81-B1148FD41DA5}">
          <p14:sldIdLst>
            <p14:sldId id="314"/>
            <p14:sldId id="260"/>
            <p14:sldId id="321"/>
            <p14:sldId id="322"/>
          </p14:sldIdLst>
        </p14:section>
        <p14:section name="Journey" id="{45D1CE8A-2102-4048-840E-CD95A2E4B460}">
          <p14:sldIdLst>
            <p14:sldId id="323"/>
            <p14:sldId id="325"/>
            <p14:sldId id="324"/>
            <p14:sldId id="326"/>
          </p14:sldIdLst>
        </p14:section>
        <p14:section name="Running time" id="{8420EA37-B83F-4BE7-A988-6DAB1376885B}">
          <p14:sldIdLst>
            <p14:sldId id="327"/>
            <p14:sldId id="356"/>
            <p14:sldId id="328"/>
            <p14:sldId id="330"/>
          </p14:sldIdLst>
        </p14:section>
        <p14:section name="User Activity" id="{188DFB22-8830-497D-B48B-9A24955E9C96}">
          <p14:sldIdLst>
            <p14:sldId id="342"/>
            <p14:sldId id="343"/>
            <p14:sldId id="350"/>
            <p14:sldId id="345"/>
          </p14:sldIdLst>
        </p14:section>
        <p14:section name="User preferred charging destination" id="{2C19DBFA-A331-48F3-AB2E-95D06D14504E}">
          <p14:sldIdLst>
            <p14:sldId id="346"/>
            <p14:sldId id="347"/>
            <p14:sldId id="348"/>
            <p14:sldId id="349"/>
          </p14:sldIdLst>
        </p14:section>
        <p14:section name="Recommended models" id="{2914654E-BC1A-4B5A-B87E-0141869E1B33}">
          <p14:sldIdLst>
            <p14:sldId id="331"/>
            <p14:sldId id="333"/>
            <p14:sldId id="332"/>
            <p14:sldId id="334"/>
          </p14:sldIdLst>
        </p14:section>
        <p14:section name="Incident" id="{FABBADB5-2D25-48D1-BDCE-47E644218AFC}">
          <p14:sldIdLst>
            <p14:sldId id="352"/>
            <p14:sldId id="353"/>
            <p14:sldId id="354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912" userDrawn="1">
          <p15:clr>
            <a:srgbClr val="A4A3A4"/>
          </p15:clr>
        </p15:guide>
        <p15:guide id="2" orient="horz" pos="3552">
          <p15:clr>
            <a:srgbClr val="A4A3A4"/>
          </p15:clr>
        </p15:guide>
        <p15:guide id="3" pos="3840">
          <p15:clr>
            <a:srgbClr val="A4A3A4"/>
          </p15:clr>
        </p15:guide>
        <p15:guide id="4" pos="439">
          <p15:clr>
            <a:srgbClr val="A4A3A4"/>
          </p15:clr>
        </p15:guide>
        <p15:guide id="5" orient="horz" pos="4080">
          <p15:clr>
            <a:srgbClr val="A4A3A4"/>
          </p15:clr>
        </p15:guide>
        <p15:guide id="6" orient="horz" pos="1344">
          <p15:clr>
            <a:srgbClr val="A4A3A4"/>
          </p15:clr>
        </p15:guide>
        <p15:guide id="7" pos="3774">
          <p15:clr>
            <a:srgbClr val="A4A3A4"/>
          </p15:clr>
        </p15:guide>
        <p15:guide id="8" pos="3936">
          <p15:clr>
            <a:srgbClr val="A4A3A4"/>
          </p15:clr>
        </p15:guide>
        <p15:guide id="9" pos="7415">
          <p15:clr>
            <a:srgbClr val="A4A3A4"/>
          </p15:clr>
        </p15:guide>
        <p15:guide id="10" pos="6576">
          <p15:clr>
            <a:srgbClr val="A4A3A4"/>
          </p15:clr>
        </p15:guide>
        <p15:guide id="11" orient="horz" pos="639">
          <p15:clr>
            <a:srgbClr val="A4A3A4"/>
          </p15:clr>
        </p15:guide>
        <p15:guide id="12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dministrator" initials="A" lastIdx="1" clrIdx="0"/>
  <p:cmAuthor id="2" name="叶 先生" initials="叶" lastIdx="2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0061D"/>
    <a:srgbClr val="4C4C4C"/>
    <a:srgbClr val="C00000"/>
    <a:srgbClr val="C10303"/>
    <a:srgbClr val="575757"/>
    <a:srgbClr val="E2BCBF"/>
    <a:srgbClr val="BB0A30"/>
    <a:srgbClr val="C6C6C6"/>
    <a:srgbClr val="898989"/>
    <a:srgbClr val="E0E0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755" autoAdjust="0"/>
    <p:restoredTop sz="96763" autoAdjust="0"/>
  </p:normalViewPr>
  <p:slideViewPr>
    <p:cSldViewPr showGuides="1">
      <p:cViewPr varScale="1">
        <p:scale>
          <a:sx n="67" d="100"/>
          <a:sy n="67" d="100"/>
        </p:scale>
        <p:origin x="768" y="52"/>
      </p:cViewPr>
      <p:guideLst>
        <p:guide orient="horz" pos="912"/>
        <p:guide orient="horz" pos="3552"/>
        <p:guide pos="3840"/>
        <p:guide pos="439"/>
        <p:guide orient="horz" pos="4080"/>
        <p:guide orient="horz" pos="1344"/>
        <p:guide pos="3774"/>
        <p:guide pos="3936"/>
        <p:guide pos="7415"/>
        <p:guide pos="6576"/>
        <p:guide orient="horz" pos="639"/>
        <p:guide orient="horz" pos="2160"/>
      </p:guideLst>
    </p:cSldViewPr>
  </p:slideViewPr>
  <p:outlineViewPr>
    <p:cViewPr>
      <p:scale>
        <a:sx n="33" d="100"/>
        <a:sy n="33" d="100"/>
      </p:scale>
      <p:origin x="0" y="2292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99" d="100"/>
          <a:sy n="99" d="100"/>
        </p:scale>
        <p:origin x="-3492" y="-9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handoutMaster" Target="handoutMasters/handoutMaster1.xml"/><Relationship Id="rId40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chartUserShapes" Target="../drawings/drawing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1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2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3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4.xlsx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5.xlsx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6.xlsx"/><Relationship Id="rId2" Type="http://schemas.microsoft.com/office/2011/relationships/chartColorStyle" Target="colors27.xml"/><Relationship Id="rId1" Type="http://schemas.microsoft.com/office/2011/relationships/chartStyle" Target="style27.xml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7.xlsx"/><Relationship Id="rId2" Type="http://schemas.microsoft.com/office/2011/relationships/chartColorStyle" Target="colors28.xml"/><Relationship Id="rId1" Type="http://schemas.microsoft.com/office/2011/relationships/chartStyle" Target="style28.xm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8.xlsx"/><Relationship Id="rId2" Type="http://schemas.microsoft.com/office/2011/relationships/chartColorStyle" Target="colors29.xml"/><Relationship Id="rId1" Type="http://schemas.microsoft.com/office/2011/relationships/chartStyle" Target="style29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9.xlsx"/><Relationship Id="rId2" Type="http://schemas.microsoft.com/office/2011/relationships/chartColorStyle" Target="colors30.xml"/><Relationship Id="rId1" Type="http://schemas.microsoft.com/office/2011/relationships/chartStyle" Target="style30.xml"/></Relationships>
</file>

<file path=ppt/charts/_rels/chart3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0.xlsx"/><Relationship Id="rId2" Type="http://schemas.microsoft.com/office/2011/relationships/chartColorStyle" Target="colors31.xml"/><Relationship Id="rId1" Type="http://schemas.microsoft.com/office/2011/relationships/chartStyle" Target="style31.xml"/></Relationships>
</file>

<file path=ppt/charts/_rels/chart3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1.xlsx"/><Relationship Id="rId2" Type="http://schemas.microsoft.com/office/2011/relationships/chartColorStyle" Target="colors32.xml"/><Relationship Id="rId1" Type="http://schemas.microsoft.com/office/2011/relationships/chartStyle" Target="style32.xml"/></Relationships>
</file>

<file path=ppt/charts/_rels/chart3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2.xlsx"/><Relationship Id="rId2" Type="http://schemas.microsoft.com/office/2011/relationships/chartColorStyle" Target="colors33.xml"/><Relationship Id="rId1" Type="http://schemas.microsoft.com/office/2011/relationships/chartStyle" Target="style33.xml"/></Relationships>
</file>

<file path=ppt/charts/_rels/chart3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3.xlsx"/></Relationships>
</file>

<file path=ppt/charts/_rels/chart3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4.xlsx"/><Relationship Id="rId2" Type="http://schemas.microsoft.com/office/2011/relationships/chartColorStyle" Target="colors34.xml"/><Relationship Id="rId1" Type="http://schemas.microsoft.com/office/2011/relationships/chartStyle" Target="style34.xml"/></Relationships>
</file>

<file path=ppt/charts/_rels/chart3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5.xlsx"/><Relationship Id="rId2" Type="http://schemas.microsoft.com/office/2011/relationships/chartColorStyle" Target="colors35.xml"/><Relationship Id="rId1" Type="http://schemas.microsoft.com/office/2011/relationships/chartStyle" Target="style35.xml"/></Relationships>
</file>

<file path=ppt/charts/_rels/chart3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6.xlsx"/><Relationship Id="rId2" Type="http://schemas.microsoft.com/office/2011/relationships/chartColorStyle" Target="colors36.xml"/><Relationship Id="rId1" Type="http://schemas.microsoft.com/office/2011/relationships/chartStyle" Target="style36.xml"/></Relationships>
</file>

<file path=ppt/charts/_rels/chart3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7.xlsx"/><Relationship Id="rId2" Type="http://schemas.microsoft.com/office/2011/relationships/chartColorStyle" Target="colors37.xml"/><Relationship Id="rId1" Type="http://schemas.microsoft.com/office/2011/relationships/chartStyle" Target="style37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</a:t>
            </a:r>
            <a:r>
              <a:rPr lang="en-US" altLang="zh-CN" sz="1800" b="0" i="0" u="none" strike="noStrike" baseline="0" dirty="0">
                <a:effectLst/>
              </a:rPr>
              <a:t>Downloads-CW 02</a:t>
            </a:r>
            <a:endParaRPr lang="en-US" altLang="zh-CN" sz="180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8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0.12109004607422701"/>
          <c:y val="0.160939108356977"/>
          <c:w val="0.76103638249587602"/>
          <c:h val="0.50606862211156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6286-4CC4-A63C-BE8BBE9CCAAD}"/>
              </c:ext>
            </c:extLst>
          </c:dPt>
          <c:dLbls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D086-4638-ADA4-23BCBD26E73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3:$A$29</c:f>
              <c:numCache>
                <c:formatCode>m/d;@</c:formatCode>
                <c:ptCount val="7"/>
                <c:pt idx="0">
                  <c:v>43836</c:v>
                </c:pt>
                <c:pt idx="1">
                  <c:v>43837</c:v>
                </c:pt>
                <c:pt idx="2">
                  <c:v>43838</c:v>
                </c:pt>
                <c:pt idx="3">
                  <c:v>43839</c:v>
                </c:pt>
                <c:pt idx="4">
                  <c:v>43840</c:v>
                </c:pt>
                <c:pt idx="5">
                  <c:v>43841</c:v>
                </c:pt>
                <c:pt idx="6">
                  <c:v>43842</c:v>
                </c:pt>
              </c:numCache>
            </c:numRef>
          </c:cat>
          <c:val>
            <c:numRef>
              <c:f>Sheet1!$B$23:$B$29</c:f>
              <c:numCache>
                <c:formatCode>General</c:formatCode>
                <c:ptCount val="7"/>
                <c:pt idx="0">
                  <c:v>1</c:v>
                </c:pt>
                <c:pt idx="1">
                  <c:v>2</c:v>
                </c:pt>
                <c:pt idx="2">
                  <c:v>1</c:v>
                </c:pt>
                <c:pt idx="3">
                  <c:v>3</c:v>
                </c:pt>
                <c:pt idx="4">
                  <c:v>0</c:v>
                </c:pt>
                <c:pt idx="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6286-4CC4-A63C-BE8BBE9CCAA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noFill/>
            </a:ln>
            <a:effectLst/>
          </c:spPr>
          <c:invertIfNegative val="0"/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7661-4C30-A742-B2557DE623FB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719-4877-93CC-7E1FAFBDA04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3:$A$29</c:f>
              <c:numCache>
                <c:formatCode>m/d;@</c:formatCode>
                <c:ptCount val="7"/>
                <c:pt idx="0">
                  <c:v>43836</c:v>
                </c:pt>
                <c:pt idx="1">
                  <c:v>43837</c:v>
                </c:pt>
                <c:pt idx="2">
                  <c:v>43838</c:v>
                </c:pt>
                <c:pt idx="3">
                  <c:v>43839</c:v>
                </c:pt>
                <c:pt idx="4">
                  <c:v>43840</c:v>
                </c:pt>
                <c:pt idx="5">
                  <c:v>43841</c:v>
                </c:pt>
                <c:pt idx="6">
                  <c:v>43842</c:v>
                </c:pt>
              </c:numCache>
            </c:numRef>
          </c:cat>
          <c:val>
            <c:numRef>
              <c:f>Sheet1!$C$23:$C$29</c:f>
              <c:numCache>
                <c:formatCode>General</c:formatCode>
                <c:ptCount val="7"/>
                <c:pt idx="0">
                  <c:v>1</c:v>
                </c:pt>
                <c:pt idx="1">
                  <c:v>0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6286-4CC4-A63C-BE8BBE9CCAAD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aidu(Android）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numRef>
              <c:f>Sheet1!$A$23:$A$29</c:f>
              <c:numCache>
                <c:formatCode>m/d;@</c:formatCode>
                <c:ptCount val="7"/>
                <c:pt idx="0">
                  <c:v>43836</c:v>
                </c:pt>
                <c:pt idx="1">
                  <c:v>43837</c:v>
                </c:pt>
                <c:pt idx="2">
                  <c:v>43838</c:v>
                </c:pt>
                <c:pt idx="3">
                  <c:v>43839</c:v>
                </c:pt>
                <c:pt idx="4">
                  <c:v>43840</c:v>
                </c:pt>
                <c:pt idx="5">
                  <c:v>43841</c:v>
                </c:pt>
                <c:pt idx="6">
                  <c:v>43842</c:v>
                </c:pt>
              </c:numCache>
            </c:numRef>
          </c:cat>
          <c:val>
            <c:numRef>
              <c:f>Sheet1!$D$23:$D$29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6286-4CC4-A63C-BE8BBE9CCAAD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99120768"/>
        <c:axId val="199156096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 Growth Rate</c:v>
                </c:pt>
              </c:strCache>
            </c:strRef>
          </c:tx>
          <c:spPr>
            <a:ln w="28575" cap="rnd">
              <a:solidFill>
                <a:schemeClr val="accent6">
                  <a:tint val="58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tint val="58000"/>
                </a:schemeClr>
              </a:solidFill>
              <a:ln w="9525">
                <a:solidFill>
                  <a:schemeClr val="accent6">
                    <a:tint val="58000"/>
                  </a:schemeClr>
                </a:solidFill>
              </a:ln>
              <a:effectLst/>
            </c:spPr>
          </c:marker>
          <c:dLbls>
            <c:delete val="1"/>
          </c:dLbls>
          <c:cat>
            <c:numRef>
              <c:f>Sheet1!$A$23:$A$29</c:f>
              <c:numCache>
                <c:formatCode>m/d;@</c:formatCode>
                <c:ptCount val="7"/>
                <c:pt idx="0">
                  <c:v>43836</c:v>
                </c:pt>
                <c:pt idx="1">
                  <c:v>43837</c:v>
                </c:pt>
                <c:pt idx="2">
                  <c:v>43838</c:v>
                </c:pt>
                <c:pt idx="3">
                  <c:v>43839</c:v>
                </c:pt>
                <c:pt idx="4">
                  <c:v>43840</c:v>
                </c:pt>
                <c:pt idx="5">
                  <c:v>43841</c:v>
                </c:pt>
                <c:pt idx="6">
                  <c:v>43842</c:v>
                </c:pt>
              </c:numCache>
            </c:numRef>
          </c:cat>
          <c:val>
            <c:numRef>
              <c:f>Sheet1!$E$23:$E$29</c:f>
              <c:numCache>
                <c:formatCode>0%</c:formatCode>
                <c:ptCount val="7"/>
                <c:pt idx="0">
                  <c:v>-0.6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-0.75</c:v>
                </c:pt>
                <c:pt idx="5">
                  <c:v>0</c:v>
                </c:pt>
                <c:pt idx="6">
                  <c:v>-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1-6286-4CC4-A63C-BE8BBE9CCAAD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99159808"/>
        <c:axId val="199158016"/>
      </c:lineChart>
      <c:dateAx>
        <c:axId val="19912076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dirty="0"/>
                  <a:t>Date</a:t>
                </a:r>
                <a:endParaRPr lang="zh-CN" altLang="en-US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199156096"/>
        <c:crosses val="autoZero"/>
        <c:auto val="1"/>
        <c:lblOffset val="100"/>
        <c:baseTimeUnit val="days"/>
      </c:dateAx>
      <c:valAx>
        <c:axId val="1991560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199120768"/>
        <c:crosses val="autoZero"/>
        <c:crossBetween val="between"/>
      </c:valAx>
      <c:dateAx>
        <c:axId val="199159808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crossAx val="199158016"/>
        <c:crosses val="autoZero"/>
        <c:auto val="1"/>
        <c:lblOffset val="100"/>
        <c:baseTimeUnit val="days"/>
        <c:majorUnit val="1"/>
        <c:majorTimeUnit val="days"/>
        <c:minorUnit val="1"/>
        <c:minorTimeUnit val="days"/>
      </c:dateAx>
      <c:valAx>
        <c:axId val="199158016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199159808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  <c:userShapes r:id="rId4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dirty="0">
                <a:latin typeface="+mj-lt"/>
              </a:rPr>
              <a:t>Average</a:t>
            </a:r>
            <a:r>
              <a:rPr lang="en-US" altLang="zh-CN" sz="1800" baseline="0" dirty="0">
                <a:latin typeface="+mj-lt"/>
              </a:rPr>
              <a:t> </a:t>
            </a:r>
            <a:r>
              <a:rPr lang="en-US" altLang="zh-CN" sz="1800" dirty="0">
                <a:latin typeface="+mj-lt"/>
              </a:rPr>
              <a:t>Weekly Active Users</a:t>
            </a:r>
            <a:endParaRPr lang="en-US" sz="1800" dirty="0">
              <a:latin typeface="+mj-lt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8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cat>
            <c:strRef>
              <c:f>Sheet1!$A$3:$A$41</c:f>
              <c:strCache>
                <c:ptCount val="39"/>
                <c:pt idx="0">
                  <c:v>CW16</c:v>
                </c:pt>
                <c:pt idx="1">
                  <c:v>CW17</c:v>
                </c:pt>
                <c:pt idx="2">
                  <c:v>CW18</c:v>
                </c:pt>
                <c:pt idx="3">
                  <c:v>CW19</c:v>
                </c:pt>
                <c:pt idx="4">
                  <c:v>CW20</c:v>
                </c:pt>
                <c:pt idx="5">
                  <c:v>CW21</c:v>
                </c:pt>
                <c:pt idx="6">
                  <c:v>CW22</c:v>
                </c:pt>
                <c:pt idx="7">
                  <c:v>CW23</c:v>
                </c:pt>
                <c:pt idx="8">
                  <c:v>CW24</c:v>
                </c:pt>
                <c:pt idx="9">
                  <c:v>CW25</c:v>
                </c:pt>
                <c:pt idx="10">
                  <c:v>CW26</c:v>
                </c:pt>
                <c:pt idx="11">
                  <c:v>CW27</c:v>
                </c:pt>
                <c:pt idx="12">
                  <c:v>CW28</c:v>
                </c:pt>
                <c:pt idx="13">
                  <c:v>CW29</c:v>
                </c:pt>
                <c:pt idx="14">
                  <c:v>CW30</c:v>
                </c:pt>
                <c:pt idx="15">
                  <c:v>CW31</c:v>
                </c:pt>
                <c:pt idx="16">
                  <c:v>CW32</c:v>
                </c:pt>
                <c:pt idx="17">
                  <c:v>CW33</c:v>
                </c:pt>
                <c:pt idx="18">
                  <c:v>CW34</c:v>
                </c:pt>
                <c:pt idx="19">
                  <c:v>CW35</c:v>
                </c:pt>
                <c:pt idx="20">
                  <c:v>CW36</c:v>
                </c:pt>
                <c:pt idx="21">
                  <c:v>CW37</c:v>
                </c:pt>
                <c:pt idx="22">
                  <c:v>CW38</c:v>
                </c:pt>
                <c:pt idx="23">
                  <c:v>CW39</c:v>
                </c:pt>
                <c:pt idx="24">
                  <c:v>CW40</c:v>
                </c:pt>
                <c:pt idx="25">
                  <c:v>CW41</c:v>
                </c:pt>
                <c:pt idx="26">
                  <c:v>CW42</c:v>
                </c:pt>
                <c:pt idx="27">
                  <c:v>CW43</c:v>
                </c:pt>
                <c:pt idx="28">
                  <c:v>CW44</c:v>
                </c:pt>
                <c:pt idx="29">
                  <c:v>CW45</c:v>
                </c:pt>
                <c:pt idx="30">
                  <c:v>CW46</c:v>
                </c:pt>
                <c:pt idx="31">
                  <c:v>CW47</c:v>
                </c:pt>
                <c:pt idx="32">
                  <c:v>CW48</c:v>
                </c:pt>
                <c:pt idx="33">
                  <c:v>CW49</c:v>
                </c:pt>
                <c:pt idx="34">
                  <c:v>CW50</c:v>
                </c:pt>
                <c:pt idx="35">
                  <c:v>CW51</c:v>
                </c:pt>
                <c:pt idx="36">
                  <c:v>CW52</c:v>
                </c:pt>
                <c:pt idx="37">
                  <c:v>CW01</c:v>
                </c:pt>
                <c:pt idx="38">
                  <c:v>CW02</c:v>
                </c:pt>
              </c:strCache>
            </c:strRef>
          </c:cat>
          <c:val>
            <c:numRef>
              <c:f>Sheet1!$B$3:$B$41</c:f>
              <c:numCache>
                <c:formatCode>General</c:formatCode>
                <c:ptCount val="39"/>
                <c:pt idx="0">
                  <c:v>63</c:v>
                </c:pt>
                <c:pt idx="1">
                  <c:v>33</c:v>
                </c:pt>
                <c:pt idx="2">
                  <c:v>32</c:v>
                </c:pt>
                <c:pt idx="3">
                  <c:v>37</c:v>
                </c:pt>
                <c:pt idx="4">
                  <c:v>28</c:v>
                </c:pt>
                <c:pt idx="5">
                  <c:v>41</c:v>
                </c:pt>
                <c:pt idx="6">
                  <c:v>36</c:v>
                </c:pt>
                <c:pt idx="7">
                  <c:v>38</c:v>
                </c:pt>
                <c:pt idx="8">
                  <c:v>131</c:v>
                </c:pt>
                <c:pt idx="9">
                  <c:v>55</c:v>
                </c:pt>
                <c:pt idx="10">
                  <c:v>36</c:v>
                </c:pt>
                <c:pt idx="11">
                  <c:v>34</c:v>
                </c:pt>
                <c:pt idx="12">
                  <c:v>30</c:v>
                </c:pt>
                <c:pt idx="13">
                  <c:v>20</c:v>
                </c:pt>
                <c:pt idx="14">
                  <c:v>24</c:v>
                </c:pt>
                <c:pt idx="15">
                  <c:v>18</c:v>
                </c:pt>
                <c:pt idx="16">
                  <c:v>33</c:v>
                </c:pt>
                <c:pt idx="17">
                  <c:v>11</c:v>
                </c:pt>
                <c:pt idx="18">
                  <c:v>26</c:v>
                </c:pt>
                <c:pt idx="19">
                  <c:v>31</c:v>
                </c:pt>
                <c:pt idx="20">
                  <c:v>33</c:v>
                </c:pt>
                <c:pt idx="21">
                  <c:v>28</c:v>
                </c:pt>
                <c:pt idx="22">
                  <c:v>30</c:v>
                </c:pt>
                <c:pt idx="23">
                  <c:v>30</c:v>
                </c:pt>
                <c:pt idx="24">
                  <c:v>18</c:v>
                </c:pt>
                <c:pt idx="25">
                  <c:v>20</c:v>
                </c:pt>
                <c:pt idx="26">
                  <c:v>15</c:v>
                </c:pt>
                <c:pt idx="27">
                  <c:v>19</c:v>
                </c:pt>
                <c:pt idx="28">
                  <c:v>30</c:v>
                </c:pt>
                <c:pt idx="29">
                  <c:v>28</c:v>
                </c:pt>
                <c:pt idx="30">
                  <c:v>27</c:v>
                </c:pt>
                <c:pt idx="31">
                  <c:v>30</c:v>
                </c:pt>
                <c:pt idx="32">
                  <c:v>24</c:v>
                </c:pt>
                <c:pt idx="33">
                  <c:v>29</c:v>
                </c:pt>
                <c:pt idx="34">
                  <c:v>21</c:v>
                </c:pt>
                <c:pt idx="35">
                  <c:v>28</c:v>
                </c:pt>
                <c:pt idx="36">
                  <c:v>17</c:v>
                </c:pt>
                <c:pt idx="37">
                  <c:v>28</c:v>
                </c:pt>
                <c:pt idx="38">
                  <c:v>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A08-4298-9FB7-FD9B09BB77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205967744"/>
        <c:axId val="20596966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Weekly Active User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BA08-4298-9FB7-FD9B09BB7762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A394C358-EB4A-4D8A-AF8E-8A200F73FEF9}" type="VALUE">
                      <a:rPr lang="en-US" altLang="zh-CN"/>
                      <a:pPr/>
                      <a:t>[值]</a:t>
                    </a:fld>
                    <a:endParaRPr lang="zh-CN" altLang="en-US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BA08-4298-9FB7-FD9B09BB7762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D3B5238C-0035-4E04-B91E-2E4F74FB48DB}" type="VALUE">
                      <a:rPr lang="en-US" altLang="zh-CN"/>
                      <a:pPr/>
                      <a:t>[值]</a:t>
                    </a:fld>
                    <a:endParaRPr lang="zh-CN" altLang="en-US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BA08-4298-9FB7-FD9B09BB7762}"/>
                </c:ext>
              </c:extLst>
            </c:dLbl>
            <c:dLbl>
              <c:idx val="9"/>
              <c:layout>
                <c:manualLayout>
                  <c:x val="-3.08288259547667E-2"/>
                  <c:y val="-3.7528195442919202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BA08-4298-9FB7-FD9B09BB776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3:$A$41</c:f>
              <c:strCache>
                <c:ptCount val="39"/>
                <c:pt idx="0">
                  <c:v>CW16</c:v>
                </c:pt>
                <c:pt idx="1">
                  <c:v>CW17</c:v>
                </c:pt>
                <c:pt idx="2">
                  <c:v>CW18</c:v>
                </c:pt>
                <c:pt idx="3">
                  <c:v>CW19</c:v>
                </c:pt>
                <c:pt idx="4">
                  <c:v>CW20</c:v>
                </c:pt>
                <c:pt idx="5">
                  <c:v>CW21</c:v>
                </c:pt>
                <c:pt idx="6">
                  <c:v>CW22</c:v>
                </c:pt>
                <c:pt idx="7">
                  <c:v>CW23</c:v>
                </c:pt>
                <c:pt idx="8">
                  <c:v>CW24</c:v>
                </c:pt>
                <c:pt idx="9">
                  <c:v>CW25</c:v>
                </c:pt>
                <c:pt idx="10">
                  <c:v>CW26</c:v>
                </c:pt>
                <c:pt idx="11">
                  <c:v>CW27</c:v>
                </c:pt>
                <c:pt idx="12">
                  <c:v>CW28</c:v>
                </c:pt>
                <c:pt idx="13">
                  <c:v>CW29</c:v>
                </c:pt>
                <c:pt idx="14">
                  <c:v>CW30</c:v>
                </c:pt>
                <c:pt idx="15">
                  <c:v>CW31</c:v>
                </c:pt>
                <c:pt idx="16">
                  <c:v>CW32</c:v>
                </c:pt>
                <c:pt idx="17">
                  <c:v>CW33</c:v>
                </c:pt>
                <c:pt idx="18">
                  <c:v>CW34</c:v>
                </c:pt>
                <c:pt idx="19">
                  <c:v>CW35</c:v>
                </c:pt>
                <c:pt idx="20">
                  <c:v>CW36</c:v>
                </c:pt>
                <c:pt idx="21">
                  <c:v>CW37</c:v>
                </c:pt>
                <c:pt idx="22">
                  <c:v>CW38</c:v>
                </c:pt>
                <c:pt idx="23">
                  <c:v>CW39</c:v>
                </c:pt>
                <c:pt idx="24">
                  <c:v>CW40</c:v>
                </c:pt>
                <c:pt idx="25">
                  <c:v>CW41</c:v>
                </c:pt>
                <c:pt idx="26">
                  <c:v>CW42</c:v>
                </c:pt>
                <c:pt idx="27">
                  <c:v>CW43</c:v>
                </c:pt>
                <c:pt idx="28">
                  <c:v>CW44</c:v>
                </c:pt>
                <c:pt idx="29">
                  <c:v>CW45</c:v>
                </c:pt>
                <c:pt idx="30">
                  <c:v>CW46</c:v>
                </c:pt>
                <c:pt idx="31">
                  <c:v>CW47</c:v>
                </c:pt>
                <c:pt idx="32">
                  <c:v>CW48</c:v>
                </c:pt>
                <c:pt idx="33">
                  <c:v>CW49</c:v>
                </c:pt>
                <c:pt idx="34">
                  <c:v>CW50</c:v>
                </c:pt>
                <c:pt idx="35">
                  <c:v>CW51</c:v>
                </c:pt>
                <c:pt idx="36">
                  <c:v>CW52</c:v>
                </c:pt>
                <c:pt idx="37">
                  <c:v>CW01</c:v>
                </c:pt>
                <c:pt idx="38">
                  <c:v>CW02</c:v>
                </c:pt>
              </c:strCache>
            </c:strRef>
          </c:cat>
          <c:val>
            <c:numRef>
              <c:f>Sheet1!$C$3:$C$41</c:f>
              <c:numCache>
                <c:formatCode>0</c:formatCode>
                <c:ptCount val="39"/>
                <c:pt idx="0">
                  <c:v>34.5</c:v>
                </c:pt>
                <c:pt idx="1">
                  <c:v>34</c:v>
                </c:pt>
                <c:pt idx="2">
                  <c:v>33.5</c:v>
                </c:pt>
                <c:pt idx="3">
                  <c:v>34.200000000000003</c:v>
                </c:pt>
                <c:pt idx="4">
                  <c:v>33.166666666666664</c:v>
                </c:pt>
                <c:pt idx="5">
                  <c:v>34.285714285714285</c:v>
                </c:pt>
                <c:pt idx="6">
                  <c:v>34.5</c:v>
                </c:pt>
                <c:pt idx="7">
                  <c:v>34.888888888888886</c:v>
                </c:pt>
                <c:pt idx="8">
                  <c:v>44.5</c:v>
                </c:pt>
                <c:pt idx="9">
                  <c:v>45.454545454545453</c:v>
                </c:pt>
                <c:pt idx="10">
                  <c:v>44.666666666666664</c:v>
                </c:pt>
                <c:pt idx="11">
                  <c:v>43.846153846153847</c:v>
                </c:pt>
                <c:pt idx="12">
                  <c:v>42.857142857142854</c:v>
                </c:pt>
                <c:pt idx="13">
                  <c:v>41.333333333333336</c:v>
                </c:pt>
                <c:pt idx="14">
                  <c:v>40.25</c:v>
                </c:pt>
                <c:pt idx="15">
                  <c:v>38.941176470588232</c:v>
                </c:pt>
                <c:pt idx="16">
                  <c:v>38.611111111111114</c:v>
                </c:pt>
                <c:pt idx="17">
                  <c:v>37.157894736842103</c:v>
                </c:pt>
                <c:pt idx="18">
                  <c:v>36.6</c:v>
                </c:pt>
                <c:pt idx="19">
                  <c:v>36.333333333333336</c:v>
                </c:pt>
                <c:pt idx="20">
                  <c:v>36.18181818181818</c:v>
                </c:pt>
                <c:pt idx="21">
                  <c:v>35.826086956521742</c:v>
                </c:pt>
                <c:pt idx="22">
                  <c:v>35.583333333333336</c:v>
                </c:pt>
                <c:pt idx="23">
                  <c:v>35.36</c:v>
                </c:pt>
                <c:pt idx="24">
                  <c:v>34.692307692307693</c:v>
                </c:pt>
                <c:pt idx="25">
                  <c:v>34.148148148148145</c:v>
                </c:pt>
                <c:pt idx="26">
                  <c:v>33.464285714285715</c:v>
                </c:pt>
                <c:pt idx="27">
                  <c:v>32.96551724137931</c:v>
                </c:pt>
                <c:pt idx="28">
                  <c:v>32.866666666666667</c:v>
                </c:pt>
                <c:pt idx="29">
                  <c:v>32.70967741935484</c:v>
                </c:pt>
                <c:pt idx="30">
                  <c:v>32.53125</c:v>
                </c:pt>
                <c:pt idx="31">
                  <c:v>32.454545454545453</c:v>
                </c:pt>
                <c:pt idx="32">
                  <c:v>32.205882352941174</c:v>
                </c:pt>
                <c:pt idx="33">
                  <c:v>32.114285714285714</c:v>
                </c:pt>
                <c:pt idx="34">
                  <c:v>31.805555555555557</c:v>
                </c:pt>
                <c:pt idx="35">
                  <c:v>31.702702702702702</c:v>
                </c:pt>
                <c:pt idx="36">
                  <c:v>31.315789473684209</c:v>
                </c:pt>
                <c:pt idx="37">
                  <c:v>31.23076923076923</c:v>
                </c:pt>
                <c:pt idx="38">
                  <c:v>30.97500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A08-4298-9FB7-FD9B09BB77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5967744"/>
        <c:axId val="205969664"/>
      </c:lineChart>
      <c:dateAx>
        <c:axId val="205967744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0" vertOverflow="ellipsis" vert="horz" wrap="square" anchor="ctr" anchorCtr="1" forceAA="0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5969664"/>
        <c:crosses val="autoZero"/>
        <c:auto val="0"/>
        <c:lblOffset val="100"/>
        <c:baseTimeUnit val="days"/>
      </c:dateAx>
      <c:valAx>
        <c:axId val="2059696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1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59677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rgbClr val="959595"/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b="0" i="0" baseline="0" dirty="0">
                <a:effectLst/>
              </a:rPr>
              <a:t>Average Daily Active Users</a:t>
            </a:r>
            <a:endParaRPr lang="zh-CN" altLang="zh-CN" sz="1800" dirty="0"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8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cat>
            <c:strRef>
              <c:f>Sheet1!$A$2:$A$41</c:f>
              <c:strCache>
                <c:ptCount val="4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</c:strCache>
            </c:strRef>
          </c:cat>
          <c:val>
            <c:numRef>
              <c:f>Sheet1!$B$2:$B$41</c:f>
              <c:numCache>
                <c:formatCode>General</c:formatCode>
                <c:ptCount val="40"/>
                <c:pt idx="0">
                  <c:v>6</c:v>
                </c:pt>
                <c:pt idx="1">
                  <c:v>63</c:v>
                </c:pt>
                <c:pt idx="2">
                  <c:v>33</c:v>
                </c:pt>
                <c:pt idx="3">
                  <c:v>32</c:v>
                </c:pt>
                <c:pt idx="4">
                  <c:v>37</c:v>
                </c:pt>
                <c:pt idx="5">
                  <c:v>28</c:v>
                </c:pt>
                <c:pt idx="6">
                  <c:v>41</c:v>
                </c:pt>
                <c:pt idx="7">
                  <c:v>36</c:v>
                </c:pt>
                <c:pt idx="8">
                  <c:v>38</c:v>
                </c:pt>
                <c:pt idx="9">
                  <c:v>131</c:v>
                </c:pt>
                <c:pt idx="10">
                  <c:v>55</c:v>
                </c:pt>
                <c:pt idx="11">
                  <c:v>36</c:v>
                </c:pt>
                <c:pt idx="12">
                  <c:v>34</c:v>
                </c:pt>
                <c:pt idx="13">
                  <c:v>30</c:v>
                </c:pt>
                <c:pt idx="14">
                  <c:v>20</c:v>
                </c:pt>
                <c:pt idx="15">
                  <c:v>24</c:v>
                </c:pt>
                <c:pt idx="16">
                  <c:v>18</c:v>
                </c:pt>
                <c:pt idx="17">
                  <c:v>33</c:v>
                </c:pt>
                <c:pt idx="18">
                  <c:v>11</c:v>
                </c:pt>
                <c:pt idx="19">
                  <c:v>26</c:v>
                </c:pt>
                <c:pt idx="20">
                  <c:v>31</c:v>
                </c:pt>
                <c:pt idx="21">
                  <c:v>33</c:v>
                </c:pt>
                <c:pt idx="22">
                  <c:v>28</c:v>
                </c:pt>
                <c:pt idx="23">
                  <c:v>30</c:v>
                </c:pt>
                <c:pt idx="24">
                  <c:v>30</c:v>
                </c:pt>
                <c:pt idx="25">
                  <c:v>18</c:v>
                </c:pt>
                <c:pt idx="26">
                  <c:v>20</c:v>
                </c:pt>
                <c:pt idx="27">
                  <c:v>15</c:v>
                </c:pt>
                <c:pt idx="28">
                  <c:v>19</c:v>
                </c:pt>
                <c:pt idx="29">
                  <c:v>30</c:v>
                </c:pt>
                <c:pt idx="30">
                  <c:v>28</c:v>
                </c:pt>
                <c:pt idx="31">
                  <c:v>27</c:v>
                </c:pt>
                <c:pt idx="32">
                  <c:v>30</c:v>
                </c:pt>
                <c:pt idx="33">
                  <c:v>24</c:v>
                </c:pt>
                <c:pt idx="34">
                  <c:v>29</c:v>
                </c:pt>
                <c:pt idx="35">
                  <c:v>21</c:v>
                </c:pt>
                <c:pt idx="36">
                  <c:v>28</c:v>
                </c:pt>
                <c:pt idx="37">
                  <c:v>17</c:v>
                </c:pt>
                <c:pt idx="38">
                  <c:v>28</c:v>
                </c:pt>
                <c:pt idx="39">
                  <c:v>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413-4ED9-BC22-56B08AA10C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06791040"/>
        <c:axId val="206807040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Daily Active User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18"/>
              <c:layout>
                <c:manualLayout>
                  <c:x val="-2.9407415622342999E-2"/>
                  <c:y val="-2.855985393130210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5413-4ED9-BC22-56B08AA10CB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1</c:f>
              <c:strCache>
                <c:ptCount val="4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</c:strCache>
            </c:strRef>
          </c:cat>
          <c:val>
            <c:numRef>
              <c:f>Sheet1!$C$2:$C$41</c:f>
              <c:numCache>
                <c:formatCode>General</c:formatCode>
                <c:ptCount val="40"/>
                <c:pt idx="0">
                  <c:v>3</c:v>
                </c:pt>
                <c:pt idx="1">
                  <c:v>9</c:v>
                </c:pt>
                <c:pt idx="2" formatCode="0">
                  <c:v>4.7142857142857144</c:v>
                </c:pt>
                <c:pt idx="3" formatCode="0">
                  <c:v>4.5714285714285712</c:v>
                </c:pt>
                <c:pt idx="4" formatCode="0">
                  <c:v>5.2857142857142856</c:v>
                </c:pt>
                <c:pt idx="5" formatCode="0">
                  <c:v>4</c:v>
                </c:pt>
                <c:pt idx="6" formatCode="0">
                  <c:v>5.8571428571428568</c:v>
                </c:pt>
                <c:pt idx="7" formatCode="0">
                  <c:v>5.1428571428571432</c:v>
                </c:pt>
                <c:pt idx="8" formatCode="0">
                  <c:v>5.4285714285714288</c:v>
                </c:pt>
                <c:pt idx="9" formatCode="0">
                  <c:v>18.714285714285715</c:v>
                </c:pt>
                <c:pt idx="10" formatCode="0">
                  <c:v>7.8571428571428568</c:v>
                </c:pt>
                <c:pt idx="11" formatCode="0">
                  <c:v>5.1428571428571432</c:v>
                </c:pt>
                <c:pt idx="12" formatCode="0">
                  <c:v>4.8571428571428568</c:v>
                </c:pt>
                <c:pt idx="13" formatCode="0">
                  <c:v>4.2857142857142856</c:v>
                </c:pt>
                <c:pt idx="14" formatCode="0">
                  <c:v>2.8571428571428572</c:v>
                </c:pt>
                <c:pt idx="15" formatCode="0">
                  <c:v>3.4285714285714284</c:v>
                </c:pt>
                <c:pt idx="16" formatCode="0">
                  <c:v>2.5714285714285716</c:v>
                </c:pt>
                <c:pt idx="17" formatCode="0">
                  <c:v>4.7142857142857144</c:v>
                </c:pt>
                <c:pt idx="18" formatCode="0">
                  <c:v>1.5714285714285714</c:v>
                </c:pt>
                <c:pt idx="19" formatCode="0">
                  <c:v>3.7142857142857144</c:v>
                </c:pt>
                <c:pt idx="20" formatCode="0">
                  <c:v>4.4285714285714288</c:v>
                </c:pt>
                <c:pt idx="21" formatCode="0">
                  <c:v>4.7142857142857144</c:v>
                </c:pt>
                <c:pt idx="22" formatCode="0">
                  <c:v>4</c:v>
                </c:pt>
                <c:pt idx="23" formatCode="0">
                  <c:v>4.2857142857142856</c:v>
                </c:pt>
                <c:pt idx="24" formatCode="0">
                  <c:v>4.2857142857142856</c:v>
                </c:pt>
                <c:pt idx="25" formatCode="0">
                  <c:v>2.5714285714285716</c:v>
                </c:pt>
                <c:pt idx="26" formatCode="0">
                  <c:v>2.8571428571428572</c:v>
                </c:pt>
                <c:pt idx="27" formatCode="0">
                  <c:v>2.1428571428571428</c:v>
                </c:pt>
                <c:pt idx="28" formatCode="0">
                  <c:v>2.7142857142857144</c:v>
                </c:pt>
                <c:pt idx="29" formatCode="0">
                  <c:v>4.2857142857142856</c:v>
                </c:pt>
                <c:pt idx="30" formatCode="0">
                  <c:v>4</c:v>
                </c:pt>
                <c:pt idx="31" formatCode="0">
                  <c:v>3.8571428571428572</c:v>
                </c:pt>
                <c:pt idx="32" formatCode="0">
                  <c:v>4.2857142857142856</c:v>
                </c:pt>
                <c:pt idx="33" formatCode="0">
                  <c:v>3.4285714285714284</c:v>
                </c:pt>
                <c:pt idx="34" formatCode="0">
                  <c:v>4.1428571428571432</c:v>
                </c:pt>
                <c:pt idx="35" formatCode="0">
                  <c:v>3</c:v>
                </c:pt>
                <c:pt idx="36" formatCode="0">
                  <c:v>4</c:v>
                </c:pt>
                <c:pt idx="37" formatCode="0">
                  <c:v>2.4285714285714284</c:v>
                </c:pt>
                <c:pt idx="38" formatCode="0">
                  <c:v>4</c:v>
                </c:pt>
                <c:pt idx="39" formatCode="0">
                  <c:v>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5413-4ED9-BC22-56B08AA10C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6791040"/>
        <c:axId val="206807040"/>
      </c:lineChart>
      <c:dateAx>
        <c:axId val="206791040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0" vertOverflow="ellipsis" vert="horz" wrap="square" anchor="ctr" anchorCtr="1" forceAA="0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6807040"/>
        <c:crosses val="autoZero"/>
        <c:auto val="0"/>
        <c:lblOffset val="100"/>
        <c:baseTimeUnit val="days"/>
      </c:dateAx>
      <c:valAx>
        <c:axId val="2068070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67910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Monthly Active Users</a:t>
            </a:r>
            <a:endParaRPr lang="zh-CN" altLang="en-US" sz="1800" b="0" cap="none" baseline="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2200" b="1" i="0" u="none" strike="noStrike" kern="1200" cap="all" spc="5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onth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Lbl>
              <c:idx val="5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05A4-44F8-B981-FE6B1D6257B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117</c:v>
                </c:pt>
                <c:pt idx="1">
                  <c:v>154</c:v>
                </c:pt>
                <c:pt idx="2">
                  <c:v>265</c:v>
                </c:pt>
                <c:pt idx="3">
                  <c:v>115</c:v>
                </c:pt>
                <c:pt idx="4">
                  <c:v>110</c:v>
                </c:pt>
                <c:pt idx="5">
                  <c:v>124</c:v>
                </c:pt>
                <c:pt idx="6">
                  <c:v>89</c:v>
                </c:pt>
                <c:pt idx="7">
                  <c:v>120</c:v>
                </c:pt>
                <c:pt idx="8">
                  <c:v>106</c:v>
                </c:pt>
                <c:pt idx="9">
                  <c:v>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5A4-44F8-B981-FE6B1D6257B1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07108352"/>
        <c:axId val="207118720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A4A4A4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C$2:$C$11</c:f>
              <c:numCache>
                <c:formatCode>0%</c:formatCode>
                <c:ptCount val="10"/>
                <c:pt idx="0">
                  <c:v>#N/A</c:v>
                </c:pt>
                <c:pt idx="1">
                  <c:v>1.3162393162393162</c:v>
                </c:pt>
                <c:pt idx="2" formatCode="0.00%">
                  <c:v>0.97785977859778594</c:v>
                </c:pt>
                <c:pt idx="3" formatCode="0.00%">
                  <c:v>0.21455223880597016</c:v>
                </c:pt>
                <c:pt idx="4" formatCode="0.00%">
                  <c:v>0.16897081413210446</c:v>
                </c:pt>
                <c:pt idx="5" formatCode="0.00%">
                  <c:v>0.16294349540078842</c:v>
                </c:pt>
                <c:pt idx="6" formatCode="0.00%">
                  <c:v>0.10056497175141244</c:v>
                </c:pt>
                <c:pt idx="7" formatCode="0.00%">
                  <c:v>0.12320328542094455</c:v>
                </c:pt>
                <c:pt idx="8" formatCode="0.00%">
                  <c:v>9.6892138939670927E-2</c:v>
                </c:pt>
                <c:pt idx="9" formatCode="0.00%">
                  <c:v>3.2500000000000001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5A4-44F8-B981-FE6B1D6257B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rgbClr val="7F7F7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7F7F7F"/>
              </a:solidFill>
              <a:ln w="9525" cap="flat" cmpd="sng" algn="ctr">
                <a:solidFill>
                  <a:srgbClr val="7F7F7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D$2:$D$11</c:f>
              <c:numCache>
                <c:formatCode>0%</c:formatCode>
                <c:ptCount val="10"/>
                <c:pt idx="0">
                  <c:v>#N/A</c:v>
                </c:pt>
                <c:pt idx="1">
                  <c:v>0.31623931623931623</c:v>
                </c:pt>
                <c:pt idx="2" formatCode="0.00%">
                  <c:v>0.72077922077922074</c:v>
                </c:pt>
                <c:pt idx="3" formatCode="0.00%">
                  <c:v>-0.56603773584905659</c:v>
                </c:pt>
                <c:pt idx="4" formatCode="0.00%">
                  <c:v>-4.3478260869565216E-2</c:v>
                </c:pt>
                <c:pt idx="5" formatCode="0.00%">
                  <c:v>0.12727272727272726</c:v>
                </c:pt>
                <c:pt idx="6" formatCode="0.00%">
                  <c:v>-0.28225806451612906</c:v>
                </c:pt>
                <c:pt idx="7" formatCode="0.00%">
                  <c:v>0.34831460674157305</c:v>
                </c:pt>
                <c:pt idx="8" formatCode="0.00%">
                  <c:v>-0.11666666666666667</c:v>
                </c:pt>
                <c:pt idx="9" formatCode="0.00%">
                  <c:v>-0.632075471698113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5A4-44F8-B981-FE6B1D6257B1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7253504"/>
        <c:axId val="207120640"/>
      </c:lineChart>
      <c:catAx>
        <c:axId val="20710835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Month</a:t>
                </a:r>
                <a:endParaRPr lang="zh-CN" altLang="en-US" cap="none" baseline="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7118720"/>
        <c:crosses val="autoZero"/>
        <c:auto val="1"/>
        <c:lblAlgn val="ctr"/>
        <c:lblOffset val="100"/>
        <c:noMultiLvlLbl val="0"/>
      </c:catAx>
      <c:valAx>
        <c:axId val="20711872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7108352"/>
        <c:crosses val="autoZero"/>
        <c:crossBetween val="between"/>
      </c:valAx>
      <c:catAx>
        <c:axId val="2072535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07120640"/>
        <c:crosses val="autoZero"/>
        <c:auto val="1"/>
        <c:lblAlgn val="ctr"/>
        <c:lblOffset val="100"/>
        <c:noMultiLvlLbl val="0"/>
      </c:catAx>
      <c:valAx>
        <c:axId val="20712064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725350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rgbClr val="7F7F7F"/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</a:t>
            </a:r>
            <a:r>
              <a:rPr lang="en-US" altLang="zh-CN" sz="1800" b="0" i="0" u="none" strike="noStrike" baseline="0" dirty="0">
                <a:effectLst/>
              </a:rPr>
              <a:t>Journeys-</a:t>
            </a:r>
            <a:r>
              <a:rPr lang="en-US" altLang="zh-CN" sz="1800" dirty="0"/>
              <a:t>CW 01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8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ily Journey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3:$A$9</c:f>
              <c:numCache>
                <c:formatCode>m/d;@</c:formatCode>
                <c:ptCount val="7"/>
                <c:pt idx="0">
                  <c:v>43829</c:v>
                </c:pt>
                <c:pt idx="1">
                  <c:v>43830</c:v>
                </c:pt>
                <c:pt idx="2">
                  <c:v>43831</c:v>
                </c:pt>
                <c:pt idx="3">
                  <c:v>43832</c:v>
                </c:pt>
                <c:pt idx="4">
                  <c:v>43833</c:v>
                </c:pt>
                <c:pt idx="5">
                  <c:v>43834</c:v>
                </c:pt>
                <c:pt idx="6">
                  <c:v>43835</c:v>
                </c:pt>
              </c:numCache>
            </c:numRef>
          </c:cat>
          <c:val>
            <c:numRef>
              <c:f>Sheet1!$B$3:$B$9</c:f>
              <c:numCache>
                <c:formatCode>General</c:formatCode>
                <c:ptCount val="7"/>
                <c:pt idx="0">
                  <c:v>0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A8-46F4-B15A-36C1F188DC2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09138816"/>
        <c:axId val="209141120"/>
      </c:barChart>
      <c:dateAx>
        <c:axId val="20913881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9141120"/>
        <c:crosses val="autoZero"/>
        <c:auto val="1"/>
        <c:lblOffset val="100"/>
        <c:baseTimeUnit val="days"/>
      </c:dateAx>
      <c:valAx>
        <c:axId val="209141120"/>
        <c:scaling>
          <c:orientation val="minMax"/>
          <c:max val="1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9138816"/>
        <c:crosses val="autoZero"/>
        <c:crossBetween val="between"/>
        <c:majorUnit val="2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solidFill>
        <a:srgbClr val="848484"/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0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Weekly Journeys</a:t>
            </a:r>
            <a:endParaRPr lang="zh-CN" altLang="en-US" sz="1800" b="0" cap="none" baseline="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2200" b="0" i="0" u="none" strike="noStrike" kern="1200" cap="all" spc="5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Journey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Lbl>
              <c:idx val="15"/>
              <c:layout>
                <c:manualLayout>
                  <c:x val="0"/>
                  <c:y val="1.0294117647058801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B08B-4CB3-B7F9-B4C8877BD55A}"/>
                </c:ext>
              </c:extLst>
            </c:dLbl>
            <c:dLbl>
              <c:idx val="16"/>
              <c:layout>
                <c:manualLayout>
                  <c:x val="0"/>
                  <c:y val="1.32352941176471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08B-4CB3-B7F9-B4C8877BD55A}"/>
                </c:ext>
              </c:extLst>
            </c:dLbl>
            <c:dLbl>
              <c:idx val="17"/>
              <c:layout>
                <c:manualLayout>
                  <c:x val="2.3465971159643902E-3"/>
                  <c:y val="1.91176470588235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08B-4CB3-B7F9-B4C8877BD55A}"/>
                </c:ext>
              </c:extLst>
            </c:dLbl>
            <c:dLbl>
              <c:idx val="22"/>
              <c:layout>
                <c:manualLayout>
                  <c:x val="1.5643980773096E-3"/>
                  <c:y val="1.7647058823529401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08B-4CB3-B7F9-B4C8877BD55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1</c:f>
              <c:strCache>
                <c:ptCount val="4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</c:strCache>
            </c:strRef>
          </c:cat>
          <c:val>
            <c:numRef>
              <c:f>Sheet1!$B$2:$B$41</c:f>
              <c:numCache>
                <c:formatCode>General</c:formatCode>
                <c:ptCount val="4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4</c:v>
                </c:pt>
                <c:pt idx="4">
                  <c:v>23</c:v>
                </c:pt>
                <c:pt idx="5">
                  <c:v>5</c:v>
                </c:pt>
                <c:pt idx="6">
                  <c:v>23</c:v>
                </c:pt>
                <c:pt idx="7">
                  <c:v>10</c:v>
                </c:pt>
                <c:pt idx="8">
                  <c:v>9</c:v>
                </c:pt>
                <c:pt idx="9">
                  <c:v>64</c:v>
                </c:pt>
                <c:pt idx="10">
                  <c:v>37</c:v>
                </c:pt>
                <c:pt idx="11">
                  <c:v>12</c:v>
                </c:pt>
                <c:pt idx="12">
                  <c:v>16</c:v>
                </c:pt>
                <c:pt idx="13">
                  <c:v>7</c:v>
                </c:pt>
                <c:pt idx="14">
                  <c:v>7</c:v>
                </c:pt>
                <c:pt idx="15">
                  <c:v>3</c:v>
                </c:pt>
                <c:pt idx="16">
                  <c:v>3</c:v>
                </c:pt>
                <c:pt idx="17">
                  <c:v>2</c:v>
                </c:pt>
                <c:pt idx="18">
                  <c:v>4</c:v>
                </c:pt>
                <c:pt idx="19">
                  <c:v>4</c:v>
                </c:pt>
                <c:pt idx="20">
                  <c:v>11</c:v>
                </c:pt>
                <c:pt idx="21">
                  <c:v>9</c:v>
                </c:pt>
                <c:pt idx="22">
                  <c:v>2</c:v>
                </c:pt>
                <c:pt idx="23">
                  <c:v>0</c:v>
                </c:pt>
                <c:pt idx="24">
                  <c:v>8</c:v>
                </c:pt>
                <c:pt idx="25">
                  <c:v>9</c:v>
                </c:pt>
                <c:pt idx="26">
                  <c:v>2</c:v>
                </c:pt>
                <c:pt idx="27">
                  <c:v>0</c:v>
                </c:pt>
                <c:pt idx="28">
                  <c:v>13</c:v>
                </c:pt>
                <c:pt idx="29">
                  <c:v>11</c:v>
                </c:pt>
                <c:pt idx="30">
                  <c:v>4</c:v>
                </c:pt>
                <c:pt idx="31">
                  <c:v>7</c:v>
                </c:pt>
                <c:pt idx="32">
                  <c:v>8</c:v>
                </c:pt>
                <c:pt idx="33">
                  <c:v>5</c:v>
                </c:pt>
                <c:pt idx="34">
                  <c:v>6</c:v>
                </c:pt>
                <c:pt idx="35">
                  <c:v>0</c:v>
                </c:pt>
                <c:pt idx="36">
                  <c:v>3</c:v>
                </c:pt>
                <c:pt idx="37">
                  <c:v>0</c:v>
                </c:pt>
                <c:pt idx="38">
                  <c:v>1</c:v>
                </c:pt>
                <c:pt idx="3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08B-4CB3-B7F9-B4C8877BD55A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04105984"/>
        <c:axId val="204478336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1</c:f>
              <c:strCache>
                <c:ptCount val="4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</c:strCache>
            </c:strRef>
          </c:cat>
          <c:val>
            <c:numRef>
              <c:f>Sheet1!$C$2:$C$41</c:f>
              <c:numCache>
                <c:formatCode>0%</c:formatCode>
                <c:ptCount val="40"/>
                <c:pt idx="0">
                  <c:v>#N/A</c:v>
                </c:pt>
                <c:pt idx="1">
                  <c:v>#N/A</c:v>
                </c:pt>
                <c:pt idx="2" formatCode="0.00%">
                  <c:v>#N/A</c:v>
                </c:pt>
                <c:pt idx="3" formatCode="0.00%">
                  <c:v>0</c:v>
                </c:pt>
                <c:pt idx="4" formatCode="0.00%">
                  <c:v>1.6428571428571428</c:v>
                </c:pt>
                <c:pt idx="5" formatCode="0.00%">
                  <c:v>0.13513513513513514</c:v>
                </c:pt>
                <c:pt idx="6" formatCode="0.00%">
                  <c:v>0.54761904761904767</c:v>
                </c:pt>
                <c:pt idx="7" formatCode="0.00%">
                  <c:v>0.15384615384615385</c:v>
                </c:pt>
                <c:pt idx="8" formatCode="0.00%">
                  <c:v>0.12</c:v>
                </c:pt>
                <c:pt idx="9" formatCode="0.00%">
                  <c:v>0.76190476190476186</c:v>
                </c:pt>
                <c:pt idx="10" formatCode="0.00%">
                  <c:v>0.25</c:v>
                </c:pt>
                <c:pt idx="11" formatCode="0.00%">
                  <c:v>6.4864864864864868E-2</c:v>
                </c:pt>
                <c:pt idx="12" formatCode="0.00%">
                  <c:v>8.1218274111675121E-2</c:v>
                </c:pt>
                <c:pt idx="13" formatCode="0.00%">
                  <c:v>3.2863849765258218E-2</c:v>
                </c:pt>
                <c:pt idx="14" formatCode="0.00%">
                  <c:v>3.1818181818181815E-2</c:v>
                </c:pt>
                <c:pt idx="15" formatCode="0.00%">
                  <c:v>1.3215859030837005E-2</c:v>
                </c:pt>
                <c:pt idx="16" formatCode="0.00%">
                  <c:v>1.3043478260869565E-2</c:v>
                </c:pt>
                <c:pt idx="17" formatCode="0.00%">
                  <c:v>8.5836909871244635E-3</c:v>
                </c:pt>
                <c:pt idx="18" formatCode="0.00%">
                  <c:v>1.7021276595744681E-2</c:v>
                </c:pt>
                <c:pt idx="19" formatCode="0.00%">
                  <c:v>1.6736401673640166E-2</c:v>
                </c:pt>
                <c:pt idx="20" formatCode="0.00%">
                  <c:v>4.5267489711934158E-2</c:v>
                </c:pt>
                <c:pt idx="21" formatCode="0.00%">
                  <c:v>3.5433070866141732E-2</c:v>
                </c:pt>
                <c:pt idx="22" formatCode="0.00%">
                  <c:v>7.6045627376425855E-3</c:v>
                </c:pt>
                <c:pt idx="23" formatCode="0.00%">
                  <c:v>0</c:v>
                </c:pt>
                <c:pt idx="24" formatCode="0.00%">
                  <c:v>3.0188679245283019E-2</c:v>
                </c:pt>
                <c:pt idx="25" formatCode="0.00%">
                  <c:v>3.2967032967032968E-2</c:v>
                </c:pt>
                <c:pt idx="26" formatCode="0.00%">
                  <c:v>7.0921985815602835E-3</c:v>
                </c:pt>
                <c:pt idx="27" formatCode="0.00%">
                  <c:v>0</c:v>
                </c:pt>
                <c:pt idx="28" formatCode="0.00%">
                  <c:v>4.5774647887323945E-2</c:v>
                </c:pt>
                <c:pt idx="29" formatCode="0.00%">
                  <c:v>3.7037037037037035E-2</c:v>
                </c:pt>
                <c:pt idx="30" formatCode="0.00%">
                  <c:v>1.2987012987012988E-2</c:v>
                </c:pt>
                <c:pt idx="31" formatCode="0.00%">
                  <c:v>2.2435897435897436E-2</c:v>
                </c:pt>
                <c:pt idx="32" formatCode="0.00%">
                  <c:v>2.5078369905956112E-2</c:v>
                </c:pt>
                <c:pt idx="33" formatCode="0.00%">
                  <c:v>1.5290519877675841E-2</c:v>
                </c:pt>
                <c:pt idx="34" formatCode="0.00%">
                  <c:v>1.8072289156626505E-2</c:v>
                </c:pt>
                <c:pt idx="35" formatCode="0.00%">
                  <c:v>0</c:v>
                </c:pt>
                <c:pt idx="36" formatCode="0.00%">
                  <c:v>8.8757396449704144E-3</c:v>
                </c:pt>
                <c:pt idx="37" formatCode="0.00%">
                  <c:v>0</c:v>
                </c:pt>
                <c:pt idx="38" formatCode="0.00%">
                  <c:v>2.9325513196480938E-3</c:v>
                </c:pt>
                <c:pt idx="39" formatCode="0.00%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08B-4CB3-B7F9-B4C8877BD55A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1</c:f>
              <c:strCache>
                <c:ptCount val="4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</c:strCache>
            </c:strRef>
          </c:cat>
          <c:val>
            <c:numRef>
              <c:f>Sheet1!$D$2:$D$41</c:f>
              <c:numCache>
                <c:formatCode>General</c:formatCode>
                <c:ptCount val="40"/>
                <c:pt idx="0" formatCode="0%">
                  <c:v>#N/A</c:v>
                </c:pt>
                <c:pt idx="1">
                  <c:v>#N/A</c:v>
                </c:pt>
                <c:pt idx="2" formatCode="0.00%">
                  <c:v>#N/A</c:v>
                </c:pt>
                <c:pt idx="3" formatCode="0.00%">
                  <c:v>0</c:v>
                </c:pt>
                <c:pt idx="4" formatCode="0.00%">
                  <c:v>0.6428571428571429</c:v>
                </c:pt>
                <c:pt idx="5" formatCode="0.00%">
                  <c:v>-0.78260869565217395</c:v>
                </c:pt>
                <c:pt idx="6" formatCode="0.00%">
                  <c:v>3.6</c:v>
                </c:pt>
                <c:pt idx="7" formatCode="0.00%">
                  <c:v>-0.56521739130434778</c:v>
                </c:pt>
                <c:pt idx="8" formatCode="0.00%">
                  <c:v>-0.1</c:v>
                </c:pt>
                <c:pt idx="9" formatCode="0.00%">
                  <c:v>6.1111111111111107</c:v>
                </c:pt>
                <c:pt idx="10" formatCode="0.00%">
                  <c:v>-0.421875</c:v>
                </c:pt>
                <c:pt idx="11" formatCode="0.00%">
                  <c:v>-0.67567567567567566</c:v>
                </c:pt>
                <c:pt idx="12" formatCode="0.00%">
                  <c:v>0.33333333333333331</c:v>
                </c:pt>
                <c:pt idx="13" formatCode="0.00%">
                  <c:v>-0.5625</c:v>
                </c:pt>
                <c:pt idx="14" formatCode="0.00%">
                  <c:v>0</c:v>
                </c:pt>
                <c:pt idx="15" formatCode="0.00%">
                  <c:v>-0.5714285714285714</c:v>
                </c:pt>
                <c:pt idx="16" formatCode="0.00%">
                  <c:v>0</c:v>
                </c:pt>
                <c:pt idx="17" formatCode="0.00%">
                  <c:v>-0.33333333333333331</c:v>
                </c:pt>
                <c:pt idx="18" formatCode="0.00%">
                  <c:v>1</c:v>
                </c:pt>
                <c:pt idx="19" formatCode="0.00%">
                  <c:v>0</c:v>
                </c:pt>
                <c:pt idx="20" formatCode="0.00%">
                  <c:v>1.75</c:v>
                </c:pt>
                <c:pt idx="21" formatCode="0.00%">
                  <c:v>-0.18181818181818182</c:v>
                </c:pt>
                <c:pt idx="22" formatCode="0.00%">
                  <c:v>-0.77777777777777779</c:v>
                </c:pt>
                <c:pt idx="23" formatCode="0.00%">
                  <c:v>-1</c:v>
                </c:pt>
                <c:pt idx="24" formatCode="0.00%">
                  <c:v>0</c:v>
                </c:pt>
                <c:pt idx="25" formatCode="0.00%">
                  <c:v>0.125</c:v>
                </c:pt>
                <c:pt idx="26" formatCode="0.00%">
                  <c:v>-0.77777777777777779</c:v>
                </c:pt>
                <c:pt idx="27" formatCode="0.00%">
                  <c:v>-1</c:v>
                </c:pt>
                <c:pt idx="28" formatCode="0.00%">
                  <c:v>0</c:v>
                </c:pt>
                <c:pt idx="29" formatCode="0.00%">
                  <c:v>-0.15384615384615385</c:v>
                </c:pt>
                <c:pt idx="30" formatCode="0.00%">
                  <c:v>-0.63636363636363635</c:v>
                </c:pt>
                <c:pt idx="31" formatCode="0.00%">
                  <c:v>0.75</c:v>
                </c:pt>
                <c:pt idx="32" formatCode="0.00%">
                  <c:v>0.14285714285714285</c:v>
                </c:pt>
                <c:pt idx="33" formatCode="0.00%">
                  <c:v>-0.375</c:v>
                </c:pt>
                <c:pt idx="34" formatCode="0.00%">
                  <c:v>0.2</c:v>
                </c:pt>
                <c:pt idx="35" formatCode="0.00%">
                  <c:v>-1</c:v>
                </c:pt>
                <c:pt idx="36" formatCode="0.00%">
                  <c:v>0</c:v>
                </c:pt>
                <c:pt idx="37" formatCode="0.00%">
                  <c:v>-1</c:v>
                </c:pt>
                <c:pt idx="38" formatCode="0.00%">
                  <c:v>0</c:v>
                </c:pt>
                <c:pt idx="39" formatCode="0.00%">
                  <c:v>-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B08B-4CB3-B7F9-B4C8877BD55A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4495104"/>
        <c:axId val="204492800"/>
      </c:lineChart>
      <c:catAx>
        <c:axId val="20410598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95" b="0" i="0" u="none" strike="noStrike" cap="all" baseline="0" dirty="0">
                    <a:effectLst/>
                  </a:rPr>
                  <a:t>2019-2020 </a:t>
                </a:r>
                <a:r>
                  <a:rPr lang="en-US" altLang="zh-CN" cap="none" baseline="0" dirty="0"/>
                  <a:t>Calendar weeks</a:t>
                </a:r>
                <a:endParaRPr lang="zh-CN" altLang="en-US" cap="none" baseline="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4478336"/>
        <c:crosses val="autoZero"/>
        <c:auto val="1"/>
        <c:lblAlgn val="ctr"/>
        <c:lblOffset val="100"/>
        <c:noMultiLvlLbl val="0"/>
      </c:catAx>
      <c:valAx>
        <c:axId val="204478336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4105984"/>
        <c:crosses val="autoZero"/>
        <c:crossBetween val="between"/>
      </c:valAx>
      <c:catAx>
        <c:axId val="2044951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04492800"/>
        <c:crosses val="autoZero"/>
        <c:auto val="1"/>
        <c:lblAlgn val="ctr"/>
        <c:lblOffset val="100"/>
        <c:noMultiLvlLbl val="0"/>
      </c:catAx>
      <c:valAx>
        <c:axId val="20449280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449510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dirty="0">
                <a:latin typeface="+mj-lt"/>
              </a:rPr>
              <a:t>Average</a:t>
            </a:r>
            <a:r>
              <a:rPr lang="en-US" altLang="zh-CN" sz="1800" baseline="0" dirty="0">
                <a:latin typeface="+mj-lt"/>
              </a:rPr>
              <a:t> </a:t>
            </a:r>
            <a:r>
              <a:rPr lang="en-US" altLang="zh-CN" sz="1800" dirty="0">
                <a:latin typeface="+mj-lt"/>
              </a:rPr>
              <a:t>Weekly </a:t>
            </a:r>
            <a:r>
              <a:rPr lang="en-US" altLang="zh-CN" sz="1800" b="0" i="0" u="none" strike="noStrike" baseline="0" dirty="0">
                <a:effectLst/>
              </a:rPr>
              <a:t>Journeys</a:t>
            </a:r>
            <a:endParaRPr lang="en-US" sz="1800" dirty="0">
              <a:latin typeface="+mj-lt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8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0.12531329710546699"/>
          <c:y val="0.153188691087527"/>
          <c:w val="0.84886510665040105"/>
          <c:h val="0.58429076800182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Journey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cat>
            <c:strRef>
              <c:f>Sheet1!$A$2:$A$41</c:f>
              <c:strCache>
                <c:ptCount val="4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</c:strCache>
            </c:strRef>
          </c:cat>
          <c:val>
            <c:numRef>
              <c:f>Sheet1!$B$2:$B$41</c:f>
              <c:numCache>
                <c:formatCode>General</c:formatCode>
                <c:ptCount val="4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4</c:v>
                </c:pt>
                <c:pt idx="4">
                  <c:v>23</c:v>
                </c:pt>
                <c:pt idx="5">
                  <c:v>5</c:v>
                </c:pt>
                <c:pt idx="6">
                  <c:v>23</c:v>
                </c:pt>
                <c:pt idx="7">
                  <c:v>10</c:v>
                </c:pt>
                <c:pt idx="8">
                  <c:v>9</c:v>
                </c:pt>
                <c:pt idx="9">
                  <c:v>64</c:v>
                </c:pt>
                <c:pt idx="10">
                  <c:v>37</c:v>
                </c:pt>
                <c:pt idx="11">
                  <c:v>12</c:v>
                </c:pt>
                <c:pt idx="12">
                  <c:v>16</c:v>
                </c:pt>
                <c:pt idx="13">
                  <c:v>7</c:v>
                </c:pt>
                <c:pt idx="14">
                  <c:v>7</c:v>
                </c:pt>
                <c:pt idx="15">
                  <c:v>3</c:v>
                </c:pt>
                <c:pt idx="16">
                  <c:v>3</c:v>
                </c:pt>
                <c:pt idx="17">
                  <c:v>2</c:v>
                </c:pt>
                <c:pt idx="18">
                  <c:v>4</c:v>
                </c:pt>
                <c:pt idx="19">
                  <c:v>4</c:v>
                </c:pt>
                <c:pt idx="20">
                  <c:v>11</c:v>
                </c:pt>
                <c:pt idx="21">
                  <c:v>9</c:v>
                </c:pt>
                <c:pt idx="22">
                  <c:v>2</c:v>
                </c:pt>
                <c:pt idx="23">
                  <c:v>0</c:v>
                </c:pt>
                <c:pt idx="24">
                  <c:v>8</c:v>
                </c:pt>
                <c:pt idx="25">
                  <c:v>9</c:v>
                </c:pt>
                <c:pt idx="26">
                  <c:v>2</c:v>
                </c:pt>
                <c:pt idx="27">
                  <c:v>0</c:v>
                </c:pt>
                <c:pt idx="28">
                  <c:v>13</c:v>
                </c:pt>
                <c:pt idx="29">
                  <c:v>11</c:v>
                </c:pt>
                <c:pt idx="30">
                  <c:v>4</c:v>
                </c:pt>
                <c:pt idx="31">
                  <c:v>7</c:v>
                </c:pt>
                <c:pt idx="32">
                  <c:v>8</c:v>
                </c:pt>
                <c:pt idx="33">
                  <c:v>5</c:v>
                </c:pt>
                <c:pt idx="34">
                  <c:v>6</c:v>
                </c:pt>
                <c:pt idx="35">
                  <c:v>0</c:v>
                </c:pt>
                <c:pt idx="36">
                  <c:v>3</c:v>
                </c:pt>
                <c:pt idx="37">
                  <c:v>0</c:v>
                </c:pt>
                <c:pt idx="38">
                  <c:v>1</c:v>
                </c:pt>
                <c:pt idx="3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87F-4CAB-94C5-78001493B9E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207103872"/>
        <c:axId val="207302016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Weekly Journey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1257-4259-B619-11AD08E39967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257-4259-B619-11AD08E39967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1257-4259-B619-11AD08E39967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C5B7B887-3318-4197-9262-23D569BB344B}" type="VALUE">
                      <a:rPr lang="en-US" altLang="zh-CN"/>
                      <a:pPr/>
                      <a:t>[值]</a:t>
                    </a:fld>
                    <a:endParaRPr lang="zh-CN" altLang="en-US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E87F-4CAB-94C5-78001493B9E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1</c:f>
              <c:strCache>
                <c:ptCount val="4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</c:strCache>
            </c:strRef>
          </c:cat>
          <c:val>
            <c:numRef>
              <c:f>Sheet1!$C$2:$C$41</c:f>
              <c:numCache>
                <c:formatCode>0</c:formatCode>
                <c:ptCount val="4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3.5</c:v>
                </c:pt>
                <c:pt idx="4">
                  <c:v>7.4</c:v>
                </c:pt>
                <c:pt idx="5">
                  <c:v>7</c:v>
                </c:pt>
                <c:pt idx="6">
                  <c:v>9.2857142857142865</c:v>
                </c:pt>
                <c:pt idx="7">
                  <c:v>9.375</c:v>
                </c:pt>
                <c:pt idx="8">
                  <c:v>9.3333333333333339</c:v>
                </c:pt>
                <c:pt idx="9">
                  <c:v>14.8</c:v>
                </c:pt>
                <c:pt idx="10">
                  <c:v>16.818181818181817</c:v>
                </c:pt>
                <c:pt idx="11">
                  <c:v>16.416666666666668</c:v>
                </c:pt>
                <c:pt idx="12">
                  <c:v>16.384615384615383</c:v>
                </c:pt>
                <c:pt idx="13">
                  <c:v>15.714285714285714</c:v>
                </c:pt>
                <c:pt idx="14">
                  <c:v>15.133333333333333</c:v>
                </c:pt>
                <c:pt idx="15">
                  <c:v>14.375</c:v>
                </c:pt>
                <c:pt idx="16">
                  <c:v>13.705882352941176</c:v>
                </c:pt>
                <c:pt idx="17">
                  <c:v>13.055555555555555</c:v>
                </c:pt>
                <c:pt idx="18">
                  <c:v>12.578947368421053</c:v>
                </c:pt>
                <c:pt idx="19">
                  <c:v>12.15</c:v>
                </c:pt>
                <c:pt idx="20">
                  <c:v>12.095238095238095</c:v>
                </c:pt>
                <c:pt idx="21">
                  <c:v>11.954545454545455</c:v>
                </c:pt>
                <c:pt idx="22">
                  <c:v>11.521739130434783</c:v>
                </c:pt>
                <c:pt idx="23">
                  <c:v>11.041666666666666</c:v>
                </c:pt>
                <c:pt idx="24">
                  <c:v>10.92</c:v>
                </c:pt>
                <c:pt idx="25">
                  <c:v>10.846153846153847</c:v>
                </c:pt>
                <c:pt idx="26">
                  <c:v>10.518518518518519</c:v>
                </c:pt>
                <c:pt idx="27">
                  <c:v>10.142857142857142</c:v>
                </c:pt>
                <c:pt idx="28">
                  <c:v>10.241379310344827</c:v>
                </c:pt>
                <c:pt idx="29">
                  <c:v>10.266666666666667</c:v>
                </c:pt>
                <c:pt idx="30">
                  <c:v>10.064516129032258</c:v>
                </c:pt>
                <c:pt idx="31">
                  <c:v>9.96875</c:v>
                </c:pt>
                <c:pt idx="32">
                  <c:v>9.9090909090909083</c:v>
                </c:pt>
                <c:pt idx="33">
                  <c:v>9.764705882352942</c:v>
                </c:pt>
                <c:pt idx="34">
                  <c:v>9.6571428571428566</c:v>
                </c:pt>
                <c:pt idx="35">
                  <c:v>9.3888888888888893</c:v>
                </c:pt>
                <c:pt idx="36">
                  <c:v>9.2162162162162158</c:v>
                </c:pt>
                <c:pt idx="37">
                  <c:v>8.973684210526315</c:v>
                </c:pt>
                <c:pt idx="38">
                  <c:v>8.7692307692307701</c:v>
                </c:pt>
                <c:pt idx="39">
                  <c:v>8.55000000000000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87F-4CAB-94C5-78001493B9E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103872"/>
        <c:axId val="207302016"/>
      </c:lineChart>
      <c:dateAx>
        <c:axId val="207103872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0" vertOverflow="ellipsis" vert="horz" wrap="square" anchor="ctr" anchorCtr="1" forceAA="0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7302016"/>
        <c:crosses val="autoZero"/>
        <c:auto val="0"/>
        <c:lblOffset val="100"/>
        <c:baseTimeUnit val="days"/>
      </c:dateAx>
      <c:valAx>
        <c:axId val="2073020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1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71038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b="0" i="0" baseline="0" dirty="0">
                <a:effectLst/>
              </a:rPr>
              <a:t>Average Daily Journeys</a:t>
            </a:r>
            <a:endParaRPr lang="zh-CN" altLang="zh-CN" dirty="0"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8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Journey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cat>
            <c:strRef>
              <c:f>Sheet1!$A$2:$A$41</c:f>
              <c:strCache>
                <c:ptCount val="4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</c:strCache>
            </c:strRef>
          </c:cat>
          <c:val>
            <c:numRef>
              <c:f>Sheet1!$B$2:$B$41</c:f>
              <c:numCache>
                <c:formatCode>General</c:formatCode>
                <c:ptCount val="4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4</c:v>
                </c:pt>
                <c:pt idx="4">
                  <c:v>23</c:v>
                </c:pt>
                <c:pt idx="5">
                  <c:v>5</c:v>
                </c:pt>
                <c:pt idx="6">
                  <c:v>23</c:v>
                </c:pt>
                <c:pt idx="7">
                  <c:v>10</c:v>
                </c:pt>
                <c:pt idx="8">
                  <c:v>9</c:v>
                </c:pt>
                <c:pt idx="9">
                  <c:v>64</c:v>
                </c:pt>
                <c:pt idx="10">
                  <c:v>37</c:v>
                </c:pt>
                <c:pt idx="11">
                  <c:v>12</c:v>
                </c:pt>
                <c:pt idx="12">
                  <c:v>16</c:v>
                </c:pt>
                <c:pt idx="13">
                  <c:v>7</c:v>
                </c:pt>
                <c:pt idx="14">
                  <c:v>7</c:v>
                </c:pt>
                <c:pt idx="15">
                  <c:v>3</c:v>
                </c:pt>
                <c:pt idx="16">
                  <c:v>3</c:v>
                </c:pt>
                <c:pt idx="17">
                  <c:v>2</c:v>
                </c:pt>
                <c:pt idx="18">
                  <c:v>4</c:v>
                </c:pt>
                <c:pt idx="19">
                  <c:v>4</c:v>
                </c:pt>
                <c:pt idx="20">
                  <c:v>11</c:v>
                </c:pt>
                <c:pt idx="21">
                  <c:v>9</c:v>
                </c:pt>
                <c:pt idx="22">
                  <c:v>2</c:v>
                </c:pt>
                <c:pt idx="23">
                  <c:v>0</c:v>
                </c:pt>
                <c:pt idx="24">
                  <c:v>8</c:v>
                </c:pt>
                <c:pt idx="25">
                  <c:v>9</c:v>
                </c:pt>
                <c:pt idx="26">
                  <c:v>2</c:v>
                </c:pt>
                <c:pt idx="27">
                  <c:v>0</c:v>
                </c:pt>
                <c:pt idx="28">
                  <c:v>13</c:v>
                </c:pt>
                <c:pt idx="29">
                  <c:v>11</c:v>
                </c:pt>
                <c:pt idx="30">
                  <c:v>4</c:v>
                </c:pt>
                <c:pt idx="31">
                  <c:v>7</c:v>
                </c:pt>
                <c:pt idx="32">
                  <c:v>8</c:v>
                </c:pt>
                <c:pt idx="33">
                  <c:v>5</c:v>
                </c:pt>
                <c:pt idx="34">
                  <c:v>6</c:v>
                </c:pt>
                <c:pt idx="35">
                  <c:v>0</c:v>
                </c:pt>
                <c:pt idx="36">
                  <c:v>3</c:v>
                </c:pt>
                <c:pt idx="37">
                  <c:v>0</c:v>
                </c:pt>
                <c:pt idx="38">
                  <c:v>1</c:v>
                </c:pt>
                <c:pt idx="3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C8A-4130-8148-E1576A47CA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06823808"/>
        <c:axId val="206826496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Daily Journeys 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5F9-447C-BF98-08F5DF105701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F5F9-447C-BF98-08F5DF105701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F5F9-447C-BF98-08F5DF105701}"/>
                </c:ext>
              </c:extLst>
            </c:dLbl>
            <c:dLbl>
              <c:idx val="1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F5F9-447C-BF98-08F5DF105701}"/>
                </c:ext>
              </c:extLst>
            </c:dLbl>
            <c:dLbl>
              <c:idx val="1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F5F9-447C-BF98-08F5DF105701}"/>
                </c:ext>
              </c:extLst>
            </c:dLbl>
            <c:dLbl>
              <c:idx val="1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F5F9-447C-BF98-08F5DF105701}"/>
                </c:ext>
              </c:extLst>
            </c:dLbl>
            <c:dLbl>
              <c:idx val="2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F5F9-447C-BF98-08F5DF105701}"/>
                </c:ext>
              </c:extLst>
            </c:dLbl>
            <c:dLbl>
              <c:idx val="2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F5F9-447C-BF98-08F5DF105701}"/>
                </c:ext>
              </c:extLst>
            </c:dLbl>
            <c:dLbl>
              <c:idx val="2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F5F9-447C-BF98-08F5DF105701}"/>
                </c:ext>
              </c:extLst>
            </c:dLbl>
            <c:dLbl>
              <c:idx val="2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F5F9-447C-BF98-08F5DF10570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1</c:f>
              <c:strCache>
                <c:ptCount val="4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</c:strCache>
            </c:strRef>
          </c:cat>
          <c:val>
            <c:numRef>
              <c:f>Sheet1!$C$2:$C$41</c:f>
              <c:numCache>
                <c:formatCode>General</c:formatCode>
                <c:ptCount val="40"/>
                <c:pt idx="0">
                  <c:v>0</c:v>
                </c:pt>
                <c:pt idx="1">
                  <c:v>0</c:v>
                </c:pt>
                <c:pt idx="2" formatCode="0">
                  <c:v>0</c:v>
                </c:pt>
                <c:pt idx="3" formatCode="0">
                  <c:v>2</c:v>
                </c:pt>
                <c:pt idx="4" formatCode="0">
                  <c:v>3.2857142857142856</c:v>
                </c:pt>
                <c:pt idx="5" formatCode="0">
                  <c:v>0.7142857142857143</c:v>
                </c:pt>
                <c:pt idx="6" formatCode="0">
                  <c:v>3.2857142857142856</c:v>
                </c:pt>
                <c:pt idx="7" formatCode="0">
                  <c:v>1.4285714285714286</c:v>
                </c:pt>
                <c:pt idx="8" formatCode="0">
                  <c:v>1.2857142857142858</c:v>
                </c:pt>
                <c:pt idx="9" formatCode="0">
                  <c:v>9.1428571428571423</c:v>
                </c:pt>
                <c:pt idx="10" formatCode="0">
                  <c:v>5.2857142857142856</c:v>
                </c:pt>
                <c:pt idx="11" formatCode="0">
                  <c:v>1.7142857142857142</c:v>
                </c:pt>
                <c:pt idx="12" formatCode="0">
                  <c:v>2.2857142857142856</c:v>
                </c:pt>
                <c:pt idx="13" formatCode="0">
                  <c:v>1</c:v>
                </c:pt>
                <c:pt idx="14" formatCode="0">
                  <c:v>1</c:v>
                </c:pt>
                <c:pt idx="15" formatCode="0">
                  <c:v>0.42857142857142855</c:v>
                </c:pt>
                <c:pt idx="16" formatCode="0">
                  <c:v>0.42857142857142855</c:v>
                </c:pt>
                <c:pt idx="17" formatCode="0">
                  <c:v>0.2857142857142857</c:v>
                </c:pt>
                <c:pt idx="18" formatCode="0">
                  <c:v>0.5714285714285714</c:v>
                </c:pt>
                <c:pt idx="19" formatCode="0">
                  <c:v>0.5714285714285714</c:v>
                </c:pt>
                <c:pt idx="20" formatCode="0">
                  <c:v>1.5714285714285714</c:v>
                </c:pt>
                <c:pt idx="21" formatCode="0">
                  <c:v>1.2857142857142858</c:v>
                </c:pt>
                <c:pt idx="22" formatCode="0">
                  <c:v>0.2857142857142857</c:v>
                </c:pt>
                <c:pt idx="23" formatCode="0">
                  <c:v>0</c:v>
                </c:pt>
                <c:pt idx="24" formatCode="0">
                  <c:v>1.1428571428571428</c:v>
                </c:pt>
                <c:pt idx="25" formatCode="0">
                  <c:v>1.2857142857142858</c:v>
                </c:pt>
                <c:pt idx="26" formatCode="0">
                  <c:v>0.2857142857142857</c:v>
                </c:pt>
                <c:pt idx="27" formatCode="0">
                  <c:v>0</c:v>
                </c:pt>
                <c:pt idx="28" formatCode="0">
                  <c:v>1.8571428571428572</c:v>
                </c:pt>
                <c:pt idx="29" formatCode="0">
                  <c:v>1.5714285714285714</c:v>
                </c:pt>
                <c:pt idx="30" formatCode="0">
                  <c:v>0.5714285714285714</c:v>
                </c:pt>
                <c:pt idx="31" formatCode="0">
                  <c:v>1</c:v>
                </c:pt>
                <c:pt idx="32" formatCode="0">
                  <c:v>1.1428571428571428</c:v>
                </c:pt>
                <c:pt idx="33" formatCode="0">
                  <c:v>0.7142857142857143</c:v>
                </c:pt>
                <c:pt idx="34" formatCode="0">
                  <c:v>0.8571428571428571</c:v>
                </c:pt>
                <c:pt idx="35" formatCode="0">
                  <c:v>0</c:v>
                </c:pt>
                <c:pt idx="36" formatCode="0">
                  <c:v>0.42857142857142855</c:v>
                </c:pt>
                <c:pt idx="37" formatCode="0">
                  <c:v>0</c:v>
                </c:pt>
                <c:pt idx="38" formatCode="0">
                  <c:v>0.14285714285714285</c:v>
                </c:pt>
                <c:pt idx="39" formatCode="0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C8A-4130-8148-E1576A47CA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6823808"/>
        <c:axId val="206826496"/>
      </c:lineChart>
      <c:dateAx>
        <c:axId val="206823808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0" vertOverflow="ellipsis" vert="horz" wrap="square" anchor="ctr" anchorCtr="1" forceAA="0"/>
            <a:lstStyle/>
            <a:p>
              <a:pPr>
                <a:defRPr lang="zh-CN" sz="1200" b="0" i="0" u="none" strike="noStrike" kern="1200" baseline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6826496"/>
        <c:crosses val="autoZero"/>
        <c:auto val="0"/>
        <c:lblOffset val="100"/>
        <c:baseTimeUnit val="days"/>
      </c:dateAx>
      <c:valAx>
        <c:axId val="2068264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68238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Monthly Journeys</a:t>
            </a:r>
            <a:endParaRPr lang="zh-CN" altLang="en-US" sz="1800" b="0" cap="none" baseline="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2200" b="1" i="0" u="none" strike="noStrike" kern="1200" cap="all" spc="5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onthly  Journeys</c:v>
                </c:pt>
              </c:strCache>
            </c:strRef>
          </c:tx>
          <c:spPr>
            <a:solidFill>
              <a:srgbClr val="C00000">
                <a:alpha val="99000"/>
              </a:srgbClr>
            </a:solidFill>
            <a:ln>
              <a:solidFill>
                <a:srgbClr val="C00000"/>
              </a:solidFill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8F77-4B01-8889-D88C2B463389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8F77-4B01-8889-D88C2B463389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8F77-4B01-8889-D88C2B463389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8F77-4B01-8889-D88C2B463389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8F77-4B01-8889-D88C2B463389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11</c:v>
                </c:pt>
                <c:pt idx="1">
                  <c:v>60</c:v>
                </c:pt>
                <c:pt idx="2">
                  <c:v>126</c:v>
                </c:pt>
                <c:pt idx="3">
                  <c:v>33</c:v>
                </c:pt>
                <c:pt idx="4">
                  <c:v>23</c:v>
                </c:pt>
                <c:pt idx="5">
                  <c:v>20</c:v>
                </c:pt>
                <c:pt idx="6">
                  <c:v>25</c:v>
                </c:pt>
                <c:pt idx="7">
                  <c:v>34</c:v>
                </c:pt>
                <c:pt idx="8">
                  <c:v>10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8F77-4B01-8889-D88C2B463389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09740160"/>
        <c:axId val="209742080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C$2:$C$11</c:f>
              <c:numCache>
                <c:formatCode>0%</c:formatCode>
                <c:ptCount val="10"/>
                <c:pt idx="0">
                  <c:v>#N/A</c:v>
                </c:pt>
                <c:pt idx="1">
                  <c:v>5.4545454545454541</c:v>
                </c:pt>
                <c:pt idx="2" formatCode="0.00%">
                  <c:v>1.7746478873239437</c:v>
                </c:pt>
                <c:pt idx="3" formatCode="0.00%">
                  <c:v>0.16751269035532995</c:v>
                </c:pt>
                <c:pt idx="4" formatCode="0.00%">
                  <c:v>0.1</c:v>
                </c:pt>
                <c:pt idx="5" formatCode="0.00%">
                  <c:v>7.9051383399209488E-2</c:v>
                </c:pt>
                <c:pt idx="6" formatCode="0.00%">
                  <c:v>9.1575091575091569E-2</c:v>
                </c:pt>
                <c:pt idx="7" formatCode="0.00%">
                  <c:v>0.11409395973154363</c:v>
                </c:pt>
                <c:pt idx="8" formatCode="0.00%">
                  <c:v>3.0120481927710843E-2</c:v>
                </c:pt>
                <c:pt idx="9" formatCode="0.00%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8F77-4B01-8889-D88C2B46338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D$2:$D$11</c:f>
              <c:numCache>
                <c:formatCode>0%</c:formatCode>
                <c:ptCount val="10"/>
                <c:pt idx="0">
                  <c:v>#N/A</c:v>
                </c:pt>
                <c:pt idx="1">
                  <c:v>4.4545454545454541</c:v>
                </c:pt>
                <c:pt idx="2" formatCode="0.00%">
                  <c:v>1.1000000000000001</c:v>
                </c:pt>
                <c:pt idx="3" formatCode="0.00%">
                  <c:v>-0.73809523809523814</c:v>
                </c:pt>
                <c:pt idx="4" formatCode="0.00%">
                  <c:v>-0.30303030303030304</c:v>
                </c:pt>
                <c:pt idx="5" formatCode="0.00%">
                  <c:v>-0.13043478260869565</c:v>
                </c:pt>
                <c:pt idx="6" formatCode="0.00%">
                  <c:v>0.25</c:v>
                </c:pt>
                <c:pt idx="7" formatCode="0.00%">
                  <c:v>0.36</c:v>
                </c:pt>
                <c:pt idx="8" formatCode="0.00%">
                  <c:v>-0.70588235294117652</c:v>
                </c:pt>
                <c:pt idx="9" formatCode="0.00%">
                  <c:v>-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8F77-4B01-8889-D88C2B463389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9762176"/>
        <c:axId val="209760640"/>
      </c:lineChart>
      <c:catAx>
        <c:axId val="20974016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Month</a:t>
                </a:r>
                <a:endParaRPr lang="zh-CN" altLang="en-US" cap="none" baseline="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9742080"/>
        <c:crosses val="autoZero"/>
        <c:auto val="1"/>
        <c:lblAlgn val="ctr"/>
        <c:lblOffset val="100"/>
        <c:noMultiLvlLbl val="0"/>
      </c:catAx>
      <c:valAx>
        <c:axId val="20974208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9740160"/>
        <c:crosses val="autoZero"/>
        <c:crossBetween val="between"/>
      </c:valAx>
      <c:catAx>
        <c:axId val="20976217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09760640"/>
        <c:crosses val="autoZero"/>
        <c:auto val="1"/>
        <c:lblAlgn val="ctr"/>
        <c:lblOffset val="100"/>
        <c:noMultiLvlLbl val="0"/>
      </c:catAx>
      <c:valAx>
        <c:axId val="20976064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976217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</a:t>
            </a:r>
            <a:r>
              <a:rPr lang="en-US" altLang="zh-CN" sz="1800" b="0" i="0" u="none" strike="noStrike" baseline="0" dirty="0">
                <a:effectLst/>
              </a:rPr>
              <a:t>Running Time-</a:t>
            </a:r>
            <a:r>
              <a:rPr lang="en-US" altLang="zh-CN" sz="1800" dirty="0"/>
              <a:t>CW 02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8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ily Running Time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2.3937761819270119E-3"/>
                  <c:y val="0.1157565648555777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823A-43C3-8A7A-51D94708816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3:$A$29</c:f>
              <c:numCache>
                <c:formatCode>m/d;@</c:formatCode>
                <c:ptCount val="7"/>
                <c:pt idx="0">
                  <c:v>43836</c:v>
                </c:pt>
                <c:pt idx="1">
                  <c:v>43837</c:v>
                </c:pt>
                <c:pt idx="2">
                  <c:v>43838</c:v>
                </c:pt>
                <c:pt idx="3">
                  <c:v>43839</c:v>
                </c:pt>
                <c:pt idx="4">
                  <c:v>43840</c:v>
                </c:pt>
                <c:pt idx="5">
                  <c:v>43841</c:v>
                </c:pt>
                <c:pt idx="6">
                  <c:v>43842</c:v>
                </c:pt>
              </c:numCache>
            </c:numRef>
          </c:cat>
          <c:val>
            <c:numRef>
              <c:f>Sheet1!$B$23:$B$29</c:f>
              <c:numCache>
                <c:formatCode>General</c:formatCode>
                <c:ptCount val="7"/>
                <c:pt idx="0">
                  <c:v>3.8</c:v>
                </c:pt>
                <c:pt idx="1">
                  <c:v>0.8</c:v>
                </c:pt>
                <c:pt idx="2">
                  <c:v>1.2</c:v>
                </c:pt>
                <c:pt idx="3">
                  <c:v>1.3</c:v>
                </c:pt>
                <c:pt idx="4">
                  <c:v>0.9</c:v>
                </c:pt>
                <c:pt idx="5">
                  <c:v>0.6</c:v>
                </c:pt>
                <c:pt idx="6">
                  <c:v>0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64C-4DF0-9764-5D2E168875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4815488"/>
        <c:axId val="21481740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3:$A$29</c:f>
              <c:numCache>
                <c:formatCode>m/d;@</c:formatCode>
                <c:ptCount val="7"/>
                <c:pt idx="0">
                  <c:v>43836</c:v>
                </c:pt>
                <c:pt idx="1">
                  <c:v>43837</c:v>
                </c:pt>
                <c:pt idx="2">
                  <c:v>43838</c:v>
                </c:pt>
                <c:pt idx="3">
                  <c:v>43839</c:v>
                </c:pt>
                <c:pt idx="4">
                  <c:v>43840</c:v>
                </c:pt>
                <c:pt idx="5">
                  <c:v>43841</c:v>
                </c:pt>
                <c:pt idx="6">
                  <c:v>43842</c:v>
                </c:pt>
              </c:numCache>
            </c:numRef>
          </c:cat>
          <c:val>
            <c:numRef>
              <c:f>Sheet1!$C$23:$C$29</c:f>
              <c:numCache>
                <c:formatCode>0%</c:formatCode>
                <c:ptCount val="7"/>
                <c:pt idx="0">
                  <c:v>2.8</c:v>
                </c:pt>
                <c:pt idx="1">
                  <c:v>-0.78947368421052633</c:v>
                </c:pt>
                <c:pt idx="2">
                  <c:v>0.49999999999999989</c:v>
                </c:pt>
                <c:pt idx="3">
                  <c:v>8.3333333333333412E-2</c:v>
                </c:pt>
                <c:pt idx="4">
                  <c:v>-0.30769230769230771</c:v>
                </c:pt>
                <c:pt idx="5">
                  <c:v>-0.33333333333333337</c:v>
                </c:pt>
                <c:pt idx="6">
                  <c:v>-0.333333333333333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64C-4DF0-9764-5D2E168875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4915328"/>
        <c:axId val="214913792"/>
      </c:lineChart>
      <c:dateAx>
        <c:axId val="21481548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14817408"/>
        <c:crosses val="autoZero"/>
        <c:auto val="1"/>
        <c:lblOffset val="100"/>
        <c:baseTimeUnit val="days"/>
      </c:dateAx>
      <c:valAx>
        <c:axId val="2148174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14815488"/>
        <c:crosses val="autoZero"/>
        <c:crossBetween val="between"/>
      </c:valAx>
      <c:dateAx>
        <c:axId val="214915328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crossAx val="214913792"/>
        <c:crosses val="autoZero"/>
        <c:auto val="1"/>
        <c:lblOffset val="100"/>
        <c:baseTimeUnit val="days"/>
      </c:dateAx>
      <c:valAx>
        <c:axId val="21491379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14915328"/>
        <c:crosses val="max"/>
        <c:crossBetween val="between"/>
      </c:valAx>
      <c:spPr>
        <a:noFill/>
        <a:ln w="25400"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</a:t>
            </a:r>
            <a:r>
              <a:rPr lang="en-US" altLang="zh-CN" sz="1800" b="0" i="0" u="none" strike="noStrike" baseline="0" dirty="0">
                <a:effectLst/>
              </a:rPr>
              <a:t>Running Time-</a:t>
            </a:r>
            <a:r>
              <a:rPr lang="en-US" altLang="zh-CN" sz="1800" dirty="0"/>
              <a:t>CW 01</a:t>
            </a:r>
          </a:p>
          <a:p>
            <a:pPr>
              <a:defRPr/>
            </a:pPr>
            <a:endParaRPr lang="en-US" altLang="zh-CN" sz="180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8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ily Running Time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2.3937761819269681E-3"/>
                  <c:y val="5.78782824277888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6B8-4DE7-9D77-60A47F7E875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6:$A$22</c:f>
              <c:numCache>
                <c:formatCode>m/d;@</c:formatCode>
                <c:ptCount val="7"/>
                <c:pt idx="0">
                  <c:v>43829</c:v>
                </c:pt>
                <c:pt idx="1">
                  <c:v>43830</c:v>
                </c:pt>
                <c:pt idx="2">
                  <c:v>43831</c:v>
                </c:pt>
                <c:pt idx="3">
                  <c:v>43832</c:v>
                </c:pt>
                <c:pt idx="4">
                  <c:v>43833</c:v>
                </c:pt>
                <c:pt idx="5">
                  <c:v>43834</c:v>
                </c:pt>
                <c:pt idx="6">
                  <c:v>43835</c:v>
                </c:pt>
              </c:numCache>
            </c:numRef>
          </c:cat>
          <c:val>
            <c:numRef>
              <c:f>Sheet1!$B$16:$B$22</c:f>
              <c:numCache>
                <c:formatCode>General</c:formatCode>
                <c:ptCount val="7"/>
                <c:pt idx="0">
                  <c:v>0.6</c:v>
                </c:pt>
                <c:pt idx="1">
                  <c:v>1.1000000000000001</c:v>
                </c:pt>
                <c:pt idx="2">
                  <c:v>0.9</c:v>
                </c:pt>
                <c:pt idx="3">
                  <c:v>1.8</c:v>
                </c:pt>
                <c:pt idx="4">
                  <c:v>0.5</c:v>
                </c:pt>
                <c:pt idx="5">
                  <c:v>0.7</c:v>
                </c:pt>
                <c:pt idx="6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6B8-4DE7-9D77-60A47F7E875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4815488"/>
        <c:axId val="21481740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6:$A$22</c:f>
              <c:numCache>
                <c:formatCode>m/d;@</c:formatCode>
                <c:ptCount val="7"/>
                <c:pt idx="0">
                  <c:v>43829</c:v>
                </c:pt>
                <c:pt idx="1">
                  <c:v>43830</c:v>
                </c:pt>
                <c:pt idx="2">
                  <c:v>43831</c:v>
                </c:pt>
                <c:pt idx="3">
                  <c:v>43832</c:v>
                </c:pt>
                <c:pt idx="4">
                  <c:v>43833</c:v>
                </c:pt>
                <c:pt idx="5">
                  <c:v>43834</c:v>
                </c:pt>
                <c:pt idx="6">
                  <c:v>43835</c:v>
                </c:pt>
              </c:numCache>
            </c:numRef>
          </c:cat>
          <c:val>
            <c:numRef>
              <c:f>Sheet1!$C$16:$C$22</c:f>
              <c:numCache>
                <c:formatCode>0%</c:formatCode>
                <c:ptCount val="7"/>
                <c:pt idx="0">
                  <c:v>-0.33333333333333337</c:v>
                </c:pt>
                <c:pt idx="1">
                  <c:v>0.83333333333333359</c:v>
                </c:pt>
                <c:pt idx="2">
                  <c:v>-0.18181818181818185</c:v>
                </c:pt>
                <c:pt idx="3">
                  <c:v>1</c:v>
                </c:pt>
                <c:pt idx="4">
                  <c:v>-0.72222222222222221</c:v>
                </c:pt>
                <c:pt idx="5">
                  <c:v>0.39999999999999991</c:v>
                </c:pt>
                <c:pt idx="6">
                  <c:v>0.428571428571428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6B8-4DE7-9D77-60A47F7E875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4915328"/>
        <c:axId val="214913792"/>
      </c:lineChart>
      <c:dateAx>
        <c:axId val="21481548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14817408"/>
        <c:crosses val="autoZero"/>
        <c:auto val="1"/>
        <c:lblOffset val="100"/>
        <c:baseTimeUnit val="days"/>
      </c:dateAx>
      <c:valAx>
        <c:axId val="2148174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14815488"/>
        <c:crosses val="autoZero"/>
        <c:crossBetween val="between"/>
      </c:valAx>
      <c:dateAx>
        <c:axId val="214915328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crossAx val="214913792"/>
        <c:crosses val="autoZero"/>
        <c:auto val="1"/>
        <c:lblOffset val="100"/>
        <c:baseTimeUnit val="days"/>
      </c:dateAx>
      <c:valAx>
        <c:axId val="21491379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14915328"/>
        <c:crosses val="max"/>
        <c:crossBetween val="between"/>
      </c:valAx>
      <c:spPr>
        <a:noFill/>
        <a:ln w="25400"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</a:t>
            </a:r>
            <a:r>
              <a:rPr lang="en-US" altLang="zh-CN" sz="1800" b="0" i="0" u="none" strike="noStrike" baseline="0" dirty="0">
                <a:effectLst/>
              </a:rPr>
              <a:t>Downloads-CW 01</a:t>
            </a:r>
            <a:endParaRPr lang="en-US" altLang="zh-CN" sz="180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8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0.12109004607422701"/>
          <c:y val="0.160939108356977"/>
          <c:w val="0.76103638249587602"/>
          <c:h val="0.50606862211156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3C07-4460-821F-B5D5C3CC6104}"/>
              </c:ext>
            </c:extLst>
          </c:dPt>
          <c:dLbls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C07-4460-821F-B5D5C3CC610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6:$A$22</c:f>
              <c:numCache>
                <c:formatCode>m/d;@</c:formatCode>
                <c:ptCount val="7"/>
                <c:pt idx="0">
                  <c:v>43829</c:v>
                </c:pt>
                <c:pt idx="1">
                  <c:v>43830</c:v>
                </c:pt>
                <c:pt idx="2">
                  <c:v>43831</c:v>
                </c:pt>
                <c:pt idx="3">
                  <c:v>43832</c:v>
                </c:pt>
                <c:pt idx="4">
                  <c:v>43833</c:v>
                </c:pt>
                <c:pt idx="5">
                  <c:v>43834</c:v>
                </c:pt>
                <c:pt idx="6">
                  <c:v>43835</c:v>
                </c:pt>
              </c:numCache>
            </c:numRef>
          </c:cat>
          <c:val>
            <c:numRef>
              <c:f>Sheet1!$B$16:$B$22</c:f>
              <c:numCache>
                <c:formatCode>General</c:formatCode>
                <c:ptCount val="7"/>
                <c:pt idx="0">
                  <c:v>4</c:v>
                </c:pt>
                <c:pt idx="1">
                  <c:v>3</c:v>
                </c:pt>
                <c:pt idx="2">
                  <c:v>2</c:v>
                </c:pt>
                <c:pt idx="3">
                  <c:v>4</c:v>
                </c:pt>
                <c:pt idx="4">
                  <c:v>6</c:v>
                </c:pt>
                <c:pt idx="5">
                  <c:v>0</c:v>
                </c:pt>
                <c:pt idx="6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C07-4460-821F-B5D5C3CC610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noFill/>
            </a:ln>
            <a:effectLst/>
          </c:spPr>
          <c:invertIfNegative val="0"/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3C07-4460-821F-B5D5C3CC6104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3C07-4460-821F-B5D5C3CC610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6:$A$22</c:f>
              <c:numCache>
                <c:formatCode>m/d;@</c:formatCode>
                <c:ptCount val="7"/>
                <c:pt idx="0">
                  <c:v>43829</c:v>
                </c:pt>
                <c:pt idx="1">
                  <c:v>43830</c:v>
                </c:pt>
                <c:pt idx="2">
                  <c:v>43831</c:v>
                </c:pt>
                <c:pt idx="3">
                  <c:v>43832</c:v>
                </c:pt>
                <c:pt idx="4">
                  <c:v>43833</c:v>
                </c:pt>
                <c:pt idx="5">
                  <c:v>43834</c:v>
                </c:pt>
                <c:pt idx="6">
                  <c:v>43835</c:v>
                </c:pt>
              </c:numCache>
            </c:numRef>
          </c:cat>
          <c:val>
            <c:numRef>
              <c:f>Sheet1!$C$16:$C$22</c:f>
              <c:numCache>
                <c:formatCode>General</c:formatCode>
                <c:ptCount val="7"/>
                <c:pt idx="0">
                  <c:v>1</c:v>
                </c:pt>
                <c:pt idx="1">
                  <c:v>0</c:v>
                </c:pt>
                <c:pt idx="2">
                  <c:v>2</c:v>
                </c:pt>
                <c:pt idx="3">
                  <c:v>0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3C07-4460-821F-B5D5C3CC6104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aidu(Android）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numRef>
              <c:f>Sheet1!$A$16:$A$22</c:f>
              <c:numCache>
                <c:formatCode>m/d;@</c:formatCode>
                <c:ptCount val="7"/>
                <c:pt idx="0">
                  <c:v>43829</c:v>
                </c:pt>
                <c:pt idx="1">
                  <c:v>43830</c:v>
                </c:pt>
                <c:pt idx="2">
                  <c:v>43831</c:v>
                </c:pt>
                <c:pt idx="3">
                  <c:v>43832</c:v>
                </c:pt>
                <c:pt idx="4">
                  <c:v>43833</c:v>
                </c:pt>
                <c:pt idx="5">
                  <c:v>43834</c:v>
                </c:pt>
                <c:pt idx="6">
                  <c:v>43835</c:v>
                </c:pt>
              </c:numCache>
            </c:numRef>
          </c:cat>
          <c:val>
            <c:numRef>
              <c:f>Sheet1!$D$16:$D$22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3C07-4460-821F-B5D5C3CC6104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99120768"/>
        <c:axId val="199156096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 Growth Rate</c:v>
                </c:pt>
              </c:strCache>
            </c:strRef>
          </c:tx>
          <c:spPr>
            <a:ln w="28575" cap="rnd">
              <a:solidFill>
                <a:schemeClr val="accent6">
                  <a:tint val="58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tint val="58000"/>
                </a:schemeClr>
              </a:solidFill>
              <a:ln w="9525">
                <a:solidFill>
                  <a:schemeClr val="accent6">
                    <a:tint val="58000"/>
                  </a:schemeClr>
                </a:solidFill>
              </a:ln>
              <a:effectLst/>
            </c:spPr>
          </c:marker>
          <c:dLbls>
            <c:delete val="1"/>
          </c:dLbls>
          <c:cat>
            <c:numRef>
              <c:f>Sheet1!$A$16:$A$22</c:f>
              <c:numCache>
                <c:formatCode>m/d;@</c:formatCode>
                <c:ptCount val="7"/>
                <c:pt idx="0">
                  <c:v>43829</c:v>
                </c:pt>
                <c:pt idx="1">
                  <c:v>43830</c:v>
                </c:pt>
                <c:pt idx="2">
                  <c:v>43831</c:v>
                </c:pt>
                <c:pt idx="3">
                  <c:v>43832</c:v>
                </c:pt>
                <c:pt idx="4">
                  <c:v>43833</c:v>
                </c:pt>
                <c:pt idx="5">
                  <c:v>43834</c:v>
                </c:pt>
                <c:pt idx="6">
                  <c:v>43835</c:v>
                </c:pt>
              </c:numCache>
            </c:numRef>
          </c:cat>
          <c:val>
            <c:numRef>
              <c:f>Sheet1!$E$16:$E$22</c:f>
              <c:numCache>
                <c:formatCode>0%</c:formatCode>
                <c:ptCount val="7"/>
                <c:pt idx="0">
                  <c:v>1.5</c:v>
                </c:pt>
                <c:pt idx="1">
                  <c:v>-0.4</c:v>
                </c:pt>
                <c:pt idx="2">
                  <c:v>0.33333333333333331</c:v>
                </c:pt>
                <c:pt idx="3">
                  <c:v>0</c:v>
                </c:pt>
                <c:pt idx="4">
                  <c:v>0.75</c:v>
                </c:pt>
                <c:pt idx="5">
                  <c:v>-1</c:v>
                </c:pt>
                <c:pt idx="6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3C07-4460-821F-B5D5C3CC6104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99159808"/>
        <c:axId val="199158016"/>
      </c:lineChart>
      <c:dateAx>
        <c:axId val="19912076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dirty="0"/>
                  <a:t>Date</a:t>
                </a:r>
                <a:endParaRPr lang="zh-CN" altLang="en-US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199156096"/>
        <c:crosses val="autoZero"/>
        <c:auto val="1"/>
        <c:lblOffset val="100"/>
        <c:baseTimeUnit val="days"/>
      </c:dateAx>
      <c:valAx>
        <c:axId val="1991560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199120768"/>
        <c:crosses val="autoZero"/>
        <c:crossBetween val="between"/>
      </c:valAx>
      <c:dateAx>
        <c:axId val="199159808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crossAx val="199158016"/>
        <c:crosses val="autoZero"/>
        <c:auto val="1"/>
        <c:lblOffset val="100"/>
        <c:baseTimeUnit val="days"/>
        <c:majorUnit val="1"/>
        <c:majorTimeUnit val="days"/>
        <c:minorUnit val="1"/>
        <c:minorTimeUnit val="days"/>
      </c:dateAx>
      <c:valAx>
        <c:axId val="199158016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199159808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  <c:userShapes r:id="rId4"/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Weekly Running Time</a:t>
            </a:r>
            <a:endParaRPr lang="zh-CN" altLang="en-US" sz="1800" b="0" cap="none" baseline="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2200" b="1" i="0" u="none" strike="noStrike" kern="1200" cap="all" spc="5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unning Time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1</c:f>
              <c:strCache>
                <c:ptCount val="4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</c:strCache>
            </c:strRef>
          </c:cat>
          <c:val>
            <c:numRef>
              <c:f>Sheet1!$B$2:$B$41</c:f>
              <c:numCache>
                <c:formatCode>General</c:formatCode>
                <c:ptCount val="40"/>
                <c:pt idx="0">
                  <c:v>0.4</c:v>
                </c:pt>
                <c:pt idx="1">
                  <c:v>42.900000000000006</c:v>
                </c:pt>
                <c:pt idx="2">
                  <c:v>12.8</c:v>
                </c:pt>
                <c:pt idx="3">
                  <c:v>27.3</c:v>
                </c:pt>
                <c:pt idx="4">
                  <c:v>15.5</c:v>
                </c:pt>
                <c:pt idx="5">
                  <c:v>7.1999999999999993</c:v>
                </c:pt>
                <c:pt idx="6">
                  <c:v>25.499999999999996</c:v>
                </c:pt>
                <c:pt idx="7">
                  <c:v>7.9</c:v>
                </c:pt>
                <c:pt idx="8">
                  <c:v>12.200000000000001</c:v>
                </c:pt>
                <c:pt idx="9">
                  <c:v>41.9</c:v>
                </c:pt>
                <c:pt idx="10">
                  <c:v>21.1</c:v>
                </c:pt>
                <c:pt idx="11">
                  <c:v>14.2</c:v>
                </c:pt>
                <c:pt idx="12">
                  <c:v>11.5</c:v>
                </c:pt>
                <c:pt idx="13">
                  <c:v>15.4</c:v>
                </c:pt>
                <c:pt idx="14">
                  <c:v>22.5</c:v>
                </c:pt>
                <c:pt idx="15">
                  <c:v>6.2</c:v>
                </c:pt>
                <c:pt idx="16">
                  <c:v>11.3</c:v>
                </c:pt>
                <c:pt idx="17">
                  <c:v>6.7</c:v>
                </c:pt>
                <c:pt idx="18">
                  <c:v>13.4</c:v>
                </c:pt>
                <c:pt idx="19">
                  <c:v>14.9</c:v>
                </c:pt>
                <c:pt idx="20">
                  <c:v>16.3</c:v>
                </c:pt>
                <c:pt idx="21">
                  <c:v>11.6</c:v>
                </c:pt>
                <c:pt idx="22">
                  <c:v>8.9</c:v>
                </c:pt>
                <c:pt idx="23">
                  <c:v>5.0999999999999996</c:v>
                </c:pt>
                <c:pt idx="24">
                  <c:v>7.7</c:v>
                </c:pt>
                <c:pt idx="25">
                  <c:v>11.4</c:v>
                </c:pt>
                <c:pt idx="26">
                  <c:v>6.8</c:v>
                </c:pt>
                <c:pt idx="27">
                  <c:v>3.9</c:v>
                </c:pt>
                <c:pt idx="28">
                  <c:v>9.9</c:v>
                </c:pt>
                <c:pt idx="29">
                  <c:v>32.799999999999997</c:v>
                </c:pt>
                <c:pt idx="30">
                  <c:v>6.9</c:v>
                </c:pt>
                <c:pt idx="31">
                  <c:v>13.3</c:v>
                </c:pt>
                <c:pt idx="32">
                  <c:v>9</c:v>
                </c:pt>
                <c:pt idx="33">
                  <c:v>6.8</c:v>
                </c:pt>
                <c:pt idx="34">
                  <c:v>8.6</c:v>
                </c:pt>
                <c:pt idx="35">
                  <c:v>8.5</c:v>
                </c:pt>
                <c:pt idx="36">
                  <c:v>9.5</c:v>
                </c:pt>
                <c:pt idx="37">
                  <c:v>9.9</c:v>
                </c:pt>
                <c:pt idx="38">
                  <c:v>6.6</c:v>
                </c:pt>
                <c:pt idx="39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CF2-4278-AC08-16AAF0984AC7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16425600"/>
        <c:axId val="21652684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A4A4A4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1</c:f>
              <c:strCache>
                <c:ptCount val="4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</c:strCache>
            </c:strRef>
          </c:cat>
          <c:val>
            <c:numRef>
              <c:f>Sheet1!$C$2:$C$41</c:f>
              <c:numCache>
                <c:formatCode>0%</c:formatCode>
                <c:ptCount val="40"/>
                <c:pt idx="0">
                  <c:v>#N/A</c:v>
                </c:pt>
                <c:pt idx="1">
                  <c:v>#N/A</c:v>
                </c:pt>
                <c:pt idx="2" formatCode="0.00%">
                  <c:v>0.29561200923787528</c:v>
                </c:pt>
                <c:pt idx="3" formatCode="0.00%">
                  <c:v>0.4866310160427807</c:v>
                </c:pt>
                <c:pt idx="4" formatCode="0.00%">
                  <c:v>0.18585131894484411</c:v>
                </c:pt>
                <c:pt idx="5" formatCode="0.00%">
                  <c:v>7.2800808897876629E-2</c:v>
                </c:pt>
                <c:pt idx="6" formatCode="0.00%">
                  <c:v>0.24033930254476904</c:v>
                </c:pt>
                <c:pt idx="7" formatCode="0.00%">
                  <c:v>6.0030395136778124E-2</c:v>
                </c:pt>
                <c:pt idx="8" formatCode="0.00%">
                  <c:v>8.74551971326165E-2</c:v>
                </c:pt>
                <c:pt idx="9" formatCode="0.00%">
                  <c:v>0.27620303230059329</c:v>
                </c:pt>
                <c:pt idx="10" formatCode="0.00%">
                  <c:v>0.10898760330578514</c:v>
                </c:pt>
                <c:pt idx="11" formatCode="0.00%">
                  <c:v>6.6138798323241738E-2</c:v>
                </c:pt>
                <c:pt idx="12" formatCode="0.00%">
                  <c:v>5.0240279598077767E-2</c:v>
                </c:pt>
                <c:pt idx="13" formatCode="0.00%">
                  <c:v>6.4059900166389364E-2</c:v>
                </c:pt>
                <c:pt idx="14" formatCode="0.00%">
                  <c:v>8.7959343236903839E-2</c:v>
                </c:pt>
                <c:pt idx="15" formatCode="0.00%">
                  <c:v>2.2278117139777225E-2</c:v>
                </c:pt>
                <c:pt idx="16" formatCode="0.00%">
                  <c:v>3.9718804920913897E-2</c:v>
                </c:pt>
                <c:pt idx="17" formatCode="0.00%">
                  <c:v>2.2650439486139286E-2</c:v>
                </c:pt>
                <c:pt idx="18" formatCode="0.00%">
                  <c:v>4.4297520661157032E-2</c:v>
                </c:pt>
                <c:pt idx="19" formatCode="0.00%">
                  <c:v>4.7166824944602732E-2</c:v>
                </c:pt>
                <c:pt idx="20" formatCode="0.00%">
                  <c:v>4.9274486094316824E-2</c:v>
                </c:pt>
                <c:pt idx="21" formatCode="0.00%">
                  <c:v>3.3419763756842413E-2</c:v>
                </c:pt>
                <c:pt idx="22" formatCode="0.00%">
                  <c:v>2.4811820462782276E-2</c:v>
                </c:pt>
                <c:pt idx="23" formatCode="0.00%">
                  <c:v>1.3873775843307946E-2</c:v>
                </c:pt>
                <c:pt idx="24" formatCode="0.00%">
                  <c:v>2.0660048296216801E-2</c:v>
                </c:pt>
                <c:pt idx="25" formatCode="0.00%">
                  <c:v>2.9968454258675087E-2</c:v>
                </c:pt>
                <c:pt idx="26" formatCode="0.00%">
                  <c:v>1.7355793772332827E-2</c:v>
                </c:pt>
                <c:pt idx="27" formatCode="0.00%">
                  <c:v>9.7842448569995001E-3</c:v>
                </c:pt>
                <c:pt idx="28" formatCode="0.00%">
                  <c:v>2.4596273291925475E-2</c:v>
                </c:pt>
                <c:pt idx="29" formatCode="0.00%">
                  <c:v>7.9534432589718734E-2</c:v>
                </c:pt>
                <c:pt idx="30" formatCode="0.00%">
                  <c:v>1.5498652291105126E-2</c:v>
                </c:pt>
                <c:pt idx="31" formatCode="0.00%">
                  <c:v>2.9418270294182713E-2</c:v>
                </c:pt>
                <c:pt idx="32" formatCode="0.00%">
                  <c:v>1.9338203695745602E-2</c:v>
                </c:pt>
                <c:pt idx="33" formatCode="0.00%">
                  <c:v>1.4333895446880273E-2</c:v>
                </c:pt>
                <c:pt idx="34" formatCode="0.00%">
                  <c:v>1.7871986699916877E-2</c:v>
                </c:pt>
                <c:pt idx="35" formatCode="0.00%">
                  <c:v>1.7354022049816255E-2</c:v>
                </c:pt>
                <c:pt idx="36" formatCode="0.00%">
                  <c:v>1.9064820389323705E-2</c:v>
                </c:pt>
                <c:pt idx="37" formatCode="0.00%">
                  <c:v>1.9495864513588031E-2</c:v>
                </c:pt>
                <c:pt idx="38" formatCode="0.00%">
                  <c:v>1.2748696156074948E-2</c:v>
                </c:pt>
                <c:pt idx="39" formatCode="0.00%">
                  <c:v>1.7165744802593936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CF2-4278-AC08-16AAF0984AC7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Pt>
            <c:idx val="6"/>
            <c:marker>
              <c:symbol val="square"/>
              <c:size val="7"/>
              <c:spPr>
                <a:solidFill>
                  <a:srgbClr val="8C8C8C"/>
                </a:solidFill>
                <a:ln w="9525" cap="flat" cmpd="sng" algn="ctr">
                  <a:solidFill>
                    <a:srgbClr val="8C8C8C"/>
                  </a:solidFill>
                  <a:round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CCF2-4278-AC08-16AAF0984AC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1</c:f>
              <c:strCache>
                <c:ptCount val="4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</c:strCache>
            </c:strRef>
          </c:cat>
          <c:val>
            <c:numRef>
              <c:f>Sheet1!$D$2:$D$41</c:f>
              <c:numCache>
                <c:formatCode>General</c:formatCode>
                <c:ptCount val="40"/>
                <c:pt idx="0" formatCode="0%">
                  <c:v>#N/A</c:v>
                </c:pt>
                <c:pt idx="1">
                  <c:v>#N/A</c:v>
                </c:pt>
                <c:pt idx="2" formatCode="0.00%">
                  <c:v>-0.70163170163170163</c:v>
                </c:pt>
                <c:pt idx="3" formatCode="0.00%">
                  <c:v>1.1328125</c:v>
                </c:pt>
                <c:pt idx="4" formatCode="0.00%">
                  <c:v>-0.43223443223443225</c:v>
                </c:pt>
                <c:pt idx="5" formatCode="0.00%">
                  <c:v>-0.53548387096774197</c:v>
                </c:pt>
                <c:pt idx="6" formatCode="0.00%">
                  <c:v>2.5416666666666665</c:v>
                </c:pt>
                <c:pt idx="7" formatCode="0.00%">
                  <c:v>-0.69019607843137243</c:v>
                </c:pt>
                <c:pt idx="8" formatCode="0.00%">
                  <c:v>0.54430379746835444</c:v>
                </c:pt>
                <c:pt idx="9" formatCode="0.00%">
                  <c:v>2.4344262295081962</c:v>
                </c:pt>
                <c:pt idx="10" formatCode="0.00%">
                  <c:v>-0.49642004773269682</c:v>
                </c:pt>
                <c:pt idx="11" formatCode="0.00%">
                  <c:v>-0.32701421800947877</c:v>
                </c:pt>
                <c:pt idx="12" formatCode="0.00%">
                  <c:v>-0.1901408450704225</c:v>
                </c:pt>
                <c:pt idx="13" formatCode="0.00%">
                  <c:v>0.33913043478260874</c:v>
                </c:pt>
                <c:pt idx="14" formatCode="0.00%">
                  <c:v>0.46103896103896103</c:v>
                </c:pt>
                <c:pt idx="15" formatCode="0.00%">
                  <c:v>-0.72444444444444445</c:v>
                </c:pt>
                <c:pt idx="16" formatCode="0.00%">
                  <c:v>0.82258064516129037</c:v>
                </c:pt>
                <c:pt idx="17" formatCode="0.00%">
                  <c:v>-0.40707964601769914</c:v>
                </c:pt>
                <c:pt idx="18" formatCode="0.00%">
                  <c:v>1</c:v>
                </c:pt>
                <c:pt idx="19" formatCode="0.00%">
                  <c:v>0.11194029850746269</c:v>
                </c:pt>
                <c:pt idx="20" formatCode="0.00%">
                  <c:v>9.3959731543624178E-2</c:v>
                </c:pt>
                <c:pt idx="21" formatCode="0.00%">
                  <c:v>-0.28834355828220865</c:v>
                </c:pt>
                <c:pt idx="22" formatCode="0.00%">
                  <c:v>-0.23275862068965511</c:v>
                </c:pt>
                <c:pt idx="23" formatCode="0.00%">
                  <c:v>-0.4269662921348315</c:v>
                </c:pt>
                <c:pt idx="24" formatCode="0.00%">
                  <c:v>0.50980392156862764</c:v>
                </c:pt>
                <c:pt idx="25" formatCode="0.00%">
                  <c:v>0.48051948051948051</c:v>
                </c:pt>
                <c:pt idx="26" formatCode="0.00%">
                  <c:v>-0.40350877192982459</c:v>
                </c:pt>
                <c:pt idx="27" formatCode="0.00%">
                  <c:v>-0.4264705882352941</c:v>
                </c:pt>
                <c:pt idx="28" formatCode="0.00%">
                  <c:v>1.5384615384615385</c:v>
                </c:pt>
                <c:pt idx="29" formatCode="0.00%">
                  <c:v>2.3131313131313127</c:v>
                </c:pt>
                <c:pt idx="30" formatCode="0.00%">
                  <c:v>-0.78963414634146345</c:v>
                </c:pt>
                <c:pt idx="31" formatCode="0.00%">
                  <c:v>0.92753623188405798</c:v>
                </c:pt>
                <c:pt idx="32" formatCode="0.00%">
                  <c:v>-0.32330827067669177</c:v>
                </c:pt>
                <c:pt idx="33" formatCode="0.00%">
                  <c:v>-0.24444444444444446</c:v>
                </c:pt>
                <c:pt idx="34" formatCode="0.00%">
                  <c:v>0.26470588235294118</c:v>
                </c:pt>
                <c:pt idx="35" formatCode="0.00%">
                  <c:v>-1.1627906976744146E-2</c:v>
                </c:pt>
                <c:pt idx="36" formatCode="0.00%">
                  <c:v>0.11764705882352941</c:v>
                </c:pt>
                <c:pt idx="37" formatCode="0.00%">
                  <c:v>4.2105263157894778E-2</c:v>
                </c:pt>
                <c:pt idx="38" formatCode="0.00%">
                  <c:v>-0.33333333333333337</c:v>
                </c:pt>
                <c:pt idx="39" formatCode="0.00%">
                  <c:v>0.36363636363636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CF2-4278-AC08-16AAF0984AC7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16530304"/>
        <c:axId val="216528768"/>
      </c:lineChart>
      <c:catAx>
        <c:axId val="21642560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95" b="0" i="0" u="none" strike="noStrike" cap="all" baseline="0" dirty="0">
                    <a:effectLst/>
                  </a:rPr>
                  <a:t>2019-2020 </a:t>
                </a:r>
                <a:r>
                  <a:rPr lang="en-US" altLang="zh-CN" sz="1200" b="0" i="0" cap="none" baseline="0" dirty="0">
                    <a:effectLst/>
                  </a:rPr>
                  <a:t>Calendar Weeks</a:t>
                </a:r>
                <a:endParaRPr lang="zh-CN" altLang="zh-CN" sz="1200" cap="none" baseline="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16526848"/>
        <c:crosses val="autoZero"/>
        <c:auto val="1"/>
        <c:lblAlgn val="ctr"/>
        <c:lblOffset val="100"/>
        <c:noMultiLvlLbl val="0"/>
      </c:catAx>
      <c:valAx>
        <c:axId val="216526848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16425600"/>
        <c:crosses val="autoZero"/>
        <c:crossBetween val="between"/>
      </c:valAx>
      <c:catAx>
        <c:axId val="2165303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16528768"/>
        <c:crosses val="autoZero"/>
        <c:auto val="1"/>
        <c:lblAlgn val="ctr"/>
        <c:lblOffset val="100"/>
        <c:noMultiLvlLbl val="0"/>
      </c:catAx>
      <c:valAx>
        <c:axId val="216528768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1653030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rPr>
              <a:t>Average Weekly Running Time</a:t>
            </a:r>
            <a:endParaRPr lang="en-US" sz="1800" dirty="0">
              <a:latin typeface="+mn-lt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8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unning Time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cat>
            <c:strRef>
              <c:f>Sheet1!$A$2:$A$41</c:f>
              <c:strCache>
                <c:ptCount val="4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</c:strCache>
            </c:strRef>
          </c:cat>
          <c:val>
            <c:numRef>
              <c:f>Sheet1!$B$2:$B$41</c:f>
              <c:numCache>
                <c:formatCode>General</c:formatCode>
                <c:ptCount val="40"/>
                <c:pt idx="0">
                  <c:v>0.4</c:v>
                </c:pt>
                <c:pt idx="1">
                  <c:v>42.900000000000006</c:v>
                </c:pt>
                <c:pt idx="2">
                  <c:v>12.8</c:v>
                </c:pt>
                <c:pt idx="3">
                  <c:v>27.3</c:v>
                </c:pt>
                <c:pt idx="4">
                  <c:v>15.5</c:v>
                </c:pt>
                <c:pt idx="5">
                  <c:v>7.1999999999999993</c:v>
                </c:pt>
                <c:pt idx="6">
                  <c:v>25.499999999999996</c:v>
                </c:pt>
                <c:pt idx="7">
                  <c:v>7.9</c:v>
                </c:pt>
                <c:pt idx="8">
                  <c:v>12.200000000000001</c:v>
                </c:pt>
                <c:pt idx="9">
                  <c:v>41.9</c:v>
                </c:pt>
                <c:pt idx="10">
                  <c:v>21.1</c:v>
                </c:pt>
                <c:pt idx="11">
                  <c:v>14.2</c:v>
                </c:pt>
                <c:pt idx="12">
                  <c:v>11.5</c:v>
                </c:pt>
                <c:pt idx="13">
                  <c:v>15.4</c:v>
                </c:pt>
                <c:pt idx="14">
                  <c:v>22.5</c:v>
                </c:pt>
                <c:pt idx="15">
                  <c:v>6.2</c:v>
                </c:pt>
                <c:pt idx="16">
                  <c:v>11.3</c:v>
                </c:pt>
                <c:pt idx="17">
                  <c:v>6.7</c:v>
                </c:pt>
                <c:pt idx="18">
                  <c:v>13.4</c:v>
                </c:pt>
                <c:pt idx="19">
                  <c:v>14.9</c:v>
                </c:pt>
                <c:pt idx="20">
                  <c:v>16.3</c:v>
                </c:pt>
                <c:pt idx="21">
                  <c:v>11.6</c:v>
                </c:pt>
                <c:pt idx="22">
                  <c:v>8.9</c:v>
                </c:pt>
                <c:pt idx="23">
                  <c:v>5.0999999999999996</c:v>
                </c:pt>
                <c:pt idx="24">
                  <c:v>7.7</c:v>
                </c:pt>
                <c:pt idx="25">
                  <c:v>11.4</c:v>
                </c:pt>
                <c:pt idx="26">
                  <c:v>6.8</c:v>
                </c:pt>
                <c:pt idx="27">
                  <c:v>3.9</c:v>
                </c:pt>
                <c:pt idx="28">
                  <c:v>9.9</c:v>
                </c:pt>
                <c:pt idx="29">
                  <c:v>32.799999999999997</c:v>
                </c:pt>
                <c:pt idx="30">
                  <c:v>6.9</c:v>
                </c:pt>
                <c:pt idx="31">
                  <c:v>13.3</c:v>
                </c:pt>
                <c:pt idx="32">
                  <c:v>9</c:v>
                </c:pt>
                <c:pt idx="33">
                  <c:v>6.8</c:v>
                </c:pt>
                <c:pt idx="34">
                  <c:v>8.6</c:v>
                </c:pt>
                <c:pt idx="35">
                  <c:v>8.5</c:v>
                </c:pt>
                <c:pt idx="36">
                  <c:v>9.5</c:v>
                </c:pt>
                <c:pt idx="37">
                  <c:v>9.9</c:v>
                </c:pt>
                <c:pt idx="38">
                  <c:v>6.6</c:v>
                </c:pt>
                <c:pt idx="39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35-43BA-BC9C-6DB118DB71B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217015424"/>
        <c:axId val="21701734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Weekly Running Tim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9"/>
              <c:layout>
                <c:manualLayout>
                  <c:x val="-3.08288259547667E-2"/>
                  <c:y val="-3.752819544291920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835-43BA-BC9C-6DB118DB71B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5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1</c:f>
              <c:strCache>
                <c:ptCount val="4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</c:strCache>
            </c:strRef>
          </c:cat>
          <c:val>
            <c:numRef>
              <c:f>Sheet1!$C$2:$C$41</c:f>
              <c:numCache>
                <c:formatCode>0.00</c:formatCode>
                <c:ptCount val="40"/>
                <c:pt idx="0">
                  <c:v>0.4</c:v>
                </c:pt>
                <c:pt idx="1">
                  <c:v>21.650000000000002</c:v>
                </c:pt>
                <c:pt idx="2">
                  <c:v>18.700000000000003</c:v>
                </c:pt>
                <c:pt idx="3">
                  <c:v>20.85</c:v>
                </c:pt>
                <c:pt idx="4">
                  <c:v>19.78</c:v>
                </c:pt>
                <c:pt idx="5">
                  <c:v>17.683333333333334</c:v>
                </c:pt>
                <c:pt idx="6">
                  <c:v>18.8</c:v>
                </c:pt>
                <c:pt idx="7">
                  <c:v>17.4375</c:v>
                </c:pt>
                <c:pt idx="8">
                  <c:v>16.855555555555554</c:v>
                </c:pt>
                <c:pt idx="9">
                  <c:v>19.36</c:v>
                </c:pt>
                <c:pt idx="10">
                  <c:v>19.518181818181816</c:v>
                </c:pt>
                <c:pt idx="11">
                  <c:v>19.074999999999999</c:v>
                </c:pt>
                <c:pt idx="12">
                  <c:v>18.492307692307691</c:v>
                </c:pt>
                <c:pt idx="13">
                  <c:v>18.271428571428569</c:v>
                </c:pt>
                <c:pt idx="14">
                  <c:v>18.553333333333331</c:v>
                </c:pt>
                <c:pt idx="15">
                  <c:v>17.781249999999996</c:v>
                </c:pt>
                <c:pt idx="16">
                  <c:v>17.399999999999999</c:v>
                </c:pt>
                <c:pt idx="17">
                  <c:v>16.805555555555554</c:v>
                </c:pt>
                <c:pt idx="18">
                  <c:v>16.626315789473679</c:v>
                </c:pt>
                <c:pt idx="19">
                  <c:v>16.539999999999996</c:v>
                </c:pt>
                <c:pt idx="20">
                  <c:v>16.528571428571425</c:v>
                </c:pt>
                <c:pt idx="21">
                  <c:v>16.304545454545451</c:v>
                </c:pt>
                <c:pt idx="22">
                  <c:v>15.98260869565217</c:v>
                </c:pt>
                <c:pt idx="23">
                  <c:v>15.529166666666663</c:v>
                </c:pt>
                <c:pt idx="24">
                  <c:v>15.215999999999998</c:v>
                </c:pt>
                <c:pt idx="25">
                  <c:v>15.069230769230765</c:v>
                </c:pt>
                <c:pt idx="26">
                  <c:v>14.762962962962959</c:v>
                </c:pt>
                <c:pt idx="27">
                  <c:v>14.374999999999996</c:v>
                </c:pt>
                <c:pt idx="28">
                  <c:v>14.220689655172409</c:v>
                </c:pt>
                <c:pt idx="29">
                  <c:v>14.839999999999996</c:v>
                </c:pt>
                <c:pt idx="30">
                  <c:v>14.58387096774193</c:v>
                </c:pt>
                <c:pt idx="31">
                  <c:v>14.543749999999996</c:v>
                </c:pt>
                <c:pt idx="32">
                  <c:v>14.375757575757572</c:v>
                </c:pt>
                <c:pt idx="33">
                  <c:v>14.152941176470584</c:v>
                </c:pt>
                <c:pt idx="34">
                  <c:v>13.994285714285711</c:v>
                </c:pt>
                <c:pt idx="35">
                  <c:v>13.841666666666663</c:v>
                </c:pt>
                <c:pt idx="36">
                  <c:v>13.724324324324321</c:v>
                </c:pt>
                <c:pt idx="37">
                  <c:v>13.623684210526314</c:v>
                </c:pt>
                <c:pt idx="38">
                  <c:v>13.443589743589742</c:v>
                </c:pt>
                <c:pt idx="39">
                  <c:v>13.33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835-43BA-BC9C-6DB118DB71B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7015424"/>
        <c:axId val="217017344"/>
      </c:lineChart>
      <c:dateAx>
        <c:axId val="217015424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 </a:t>
                </a: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0" vertOverflow="ellipsis" vert="horz" wrap="square" anchor="ctr" anchorCtr="1" forceAA="0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17017344"/>
        <c:crosses val="autoZero"/>
        <c:auto val="0"/>
        <c:lblOffset val="100"/>
        <c:baseTimeUnit val="days"/>
      </c:dateAx>
      <c:valAx>
        <c:axId val="2170173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1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170154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baseline="0" dirty="0">
                <a:effectLst/>
                <a:latin typeface="+mn-lt"/>
              </a:rPr>
              <a:t>Average Daily Running Time</a:t>
            </a:r>
            <a:endParaRPr lang="zh-CN" altLang="zh-CN" sz="2000" dirty="0">
              <a:effectLst/>
              <a:latin typeface="+mn-lt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8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unning Time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cat>
            <c:strRef>
              <c:f>Sheet1!$A$2:$A$41</c:f>
              <c:strCache>
                <c:ptCount val="4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</c:strCache>
            </c:strRef>
          </c:cat>
          <c:val>
            <c:numRef>
              <c:f>Sheet1!$B$2:$B$41</c:f>
              <c:numCache>
                <c:formatCode>General</c:formatCode>
                <c:ptCount val="40"/>
                <c:pt idx="0">
                  <c:v>0.4</c:v>
                </c:pt>
                <c:pt idx="1">
                  <c:v>42.900000000000006</c:v>
                </c:pt>
                <c:pt idx="2">
                  <c:v>12.8</c:v>
                </c:pt>
                <c:pt idx="3">
                  <c:v>27.3</c:v>
                </c:pt>
                <c:pt idx="4">
                  <c:v>15.5</c:v>
                </c:pt>
                <c:pt idx="5">
                  <c:v>7.1999999999999993</c:v>
                </c:pt>
                <c:pt idx="6">
                  <c:v>25.499999999999996</c:v>
                </c:pt>
                <c:pt idx="7">
                  <c:v>7.9</c:v>
                </c:pt>
                <c:pt idx="8">
                  <c:v>12.200000000000001</c:v>
                </c:pt>
                <c:pt idx="9">
                  <c:v>41.9</c:v>
                </c:pt>
                <c:pt idx="10">
                  <c:v>21.1</c:v>
                </c:pt>
                <c:pt idx="11">
                  <c:v>14.2</c:v>
                </c:pt>
                <c:pt idx="12">
                  <c:v>11.5</c:v>
                </c:pt>
                <c:pt idx="13">
                  <c:v>15.4</c:v>
                </c:pt>
                <c:pt idx="14">
                  <c:v>22.5</c:v>
                </c:pt>
                <c:pt idx="15">
                  <c:v>6.2</c:v>
                </c:pt>
                <c:pt idx="16">
                  <c:v>11.3</c:v>
                </c:pt>
                <c:pt idx="17">
                  <c:v>6.7</c:v>
                </c:pt>
                <c:pt idx="18">
                  <c:v>13.4</c:v>
                </c:pt>
                <c:pt idx="19">
                  <c:v>14.9</c:v>
                </c:pt>
                <c:pt idx="20">
                  <c:v>16.3</c:v>
                </c:pt>
                <c:pt idx="21">
                  <c:v>11.6</c:v>
                </c:pt>
                <c:pt idx="22">
                  <c:v>8.9</c:v>
                </c:pt>
                <c:pt idx="23">
                  <c:v>5.0999999999999996</c:v>
                </c:pt>
                <c:pt idx="24">
                  <c:v>7.7</c:v>
                </c:pt>
                <c:pt idx="25">
                  <c:v>11.4</c:v>
                </c:pt>
                <c:pt idx="26">
                  <c:v>6.8</c:v>
                </c:pt>
                <c:pt idx="27">
                  <c:v>3.9</c:v>
                </c:pt>
                <c:pt idx="28">
                  <c:v>9.9</c:v>
                </c:pt>
                <c:pt idx="29">
                  <c:v>32.799999999999997</c:v>
                </c:pt>
                <c:pt idx="30">
                  <c:v>6.9</c:v>
                </c:pt>
                <c:pt idx="31">
                  <c:v>13.3</c:v>
                </c:pt>
                <c:pt idx="32">
                  <c:v>9</c:v>
                </c:pt>
                <c:pt idx="33">
                  <c:v>6.8</c:v>
                </c:pt>
                <c:pt idx="34">
                  <c:v>8.6</c:v>
                </c:pt>
                <c:pt idx="35">
                  <c:v>8.5</c:v>
                </c:pt>
                <c:pt idx="36">
                  <c:v>9.5</c:v>
                </c:pt>
                <c:pt idx="37">
                  <c:v>9.9</c:v>
                </c:pt>
                <c:pt idx="38">
                  <c:v>6.6</c:v>
                </c:pt>
                <c:pt idx="39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95-4BCD-99D3-894C2029D17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223089408"/>
        <c:axId val="22309132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Daily Running Time 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5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1895-4BCD-99D3-894C2029D17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500" b="0" i="0" u="none" strike="noStrike" kern="1200" baseline="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1</c:f>
              <c:strCache>
                <c:ptCount val="4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</c:strCache>
            </c:strRef>
          </c:cat>
          <c:val>
            <c:numRef>
              <c:f>Sheet1!$C$2:$C$41</c:f>
              <c:numCache>
                <c:formatCode>0.00</c:formatCode>
                <c:ptCount val="40"/>
                <c:pt idx="0">
                  <c:v>0.2</c:v>
                </c:pt>
                <c:pt idx="1">
                  <c:v>6.128571428571429</c:v>
                </c:pt>
                <c:pt idx="2">
                  <c:v>1.8285714285714287</c:v>
                </c:pt>
                <c:pt idx="3">
                  <c:v>3.9</c:v>
                </c:pt>
                <c:pt idx="4">
                  <c:v>2.2142857142857144</c:v>
                </c:pt>
                <c:pt idx="5">
                  <c:v>1.0285714285714285</c:v>
                </c:pt>
                <c:pt idx="6">
                  <c:v>3.6428571428571423</c:v>
                </c:pt>
                <c:pt idx="7">
                  <c:v>1.1285714285714286</c:v>
                </c:pt>
                <c:pt idx="8">
                  <c:v>1.7428571428571431</c:v>
                </c:pt>
                <c:pt idx="9">
                  <c:v>5.9857142857142858</c:v>
                </c:pt>
                <c:pt idx="10">
                  <c:v>3.0142857142857147</c:v>
                </c:pt>
                <c:pt idx="11">
                  <c:v>2.0285714285714285</c:v>
                </c:pt>
                <c:pt idx="12">
                  <c:v>1.6428571428571428</c:v>
                </c:pt>
                <c:pt idx="13">
                  <c:v>2.2000000000000002</c:v>
                </c:pt>
                <c:pt idx="14">
                  <c:v>3.2142857142857144</c:v>
                </c:pt>
                <c:pt idx="15">
                  <c:v>0.88571428571428579</c:v>
                </c:pt>
                <c:pt idx="16">
                  <c:v>1.6142857142857143</c:v>
                </c:pt>
                <c:pt idx="17">
                  <c:v>0.95714285714285718</c:v>
                </c:pt>
                <c:pt idx="18">
                  <c:v>1.9142857142857144</c:v>
                </c:pt>
                <c:pt idx="19">
                  <c:v>2.1285714285714286</c:v>
                </c:pt>
                <c:pt idx="20">
                  <c:v>2.3285714285714287</c:v>
                </c:pt>
                <c:pt idx="21">
                  <c:v>1.657142857142857</c:v>
                </c:pt>
                <c:pt idx="22">
                  <c:v>1.2714285714285716</c:v>
                </c:pt>
                <c:pt idx="23">
                  <c:v>0.72857142857142854</c:v>
                </c:pt>
                <c:pt idx="24">
                  <c:v>1.1000000000000001</c:v>
                </c:pt>
                <c:pt idx="25">
                  <c:v>1.6285714285714286</c:v>
                </c:pt>
                <c:pt idx="26">
                  <c:v>0.97142857142857142</c:v>
                </c:pt>
                <c:pt idx="27">
                  <c:v>0.55714285714285716</c:v>
                </c:pt>
                <c:pt idx="28">
                  <c:v>1.4142857142857144</c:v>
                </c:pt>
                <c:pt idx="29">
                  <c:v>4.6857142857142851</c:v>
                </c:pt>
                <c:pt idx="30">
                  <c:v>0.98571428571428577</c:v>
                </c:pt>
                <c:pt idx="31">
                  <c:v>1.9000000000000001</c:v>
                </c:pt>
                <c:pt idx="32">
                  <c:v>1.2857142857142858</c:v>
                </c:pt>
                <c:pt idx="33">
                  <c:v>0.97142857142857142</c:v>
                </c:pt>
                <c:pt idx="34">
                  <c:v>1.2285714285714284</c:v>
                </c:pt>
                <c:pt idx="35">
                  <c:v>1.2142857142857142</c:v>
                </c:pt>
                <c:pt idx="36">
                  <c:v>1.3571428571428572</c:v>
                </c:pt>
                <c:pt idx="37">
                  <c:v>1.4142857142857144</c:v>
                </c:pt>
                <c:pt idx="38">
                  <c:v>0.94285714285714284</c:v>
                </c:pt>
                <c:pt idx="39">
                  <c:v>1.28571428571428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895-4BCD-99D3-894C2029D17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23089408"/>
        <c:axId val="223091328"/>
      </c:lineChart>
      <c:dateAx>
        <c:axId val="223089408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0" vertOverflow="ellipsis" vert="horz" wrap="square" anchor="ctr" anchorCtr="1" forceAA="0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23091328"/>
        <c:crosses val="autoZero"/>
        <c:auto val="0"/>
        <c:lblOffset val="100"/>
        <c:baseTimeUnit val="days"/>
      </c:dateAx>
      <c:valAx>
        <c:axId val="2230913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230894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Monthly Running Time</a:t>
            </a:r>
            <a:endParaRPr lang="zh-CN" altLang="en-US" sz="1800" b="0" cap="none" baseline="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2200" b="1" i="0" u="none" strike="noStrike" kern="1200" cap="all" spc="5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onthly Running Time</c:v>
                </c:pt>
              </c:strCache>
            </c:strRef>
          </c:tx>
          <c:spPr>
            <a:solidFill>
              <a:srgbClr val="C00000"/>
            </a:solidFill>
            <a:ln>
              <a:solidFill>
                <a:srgbClr val="C00000"/>
              </a:solidFill>
            </a:ln>
            <a:effectLst/>
          </c:spPr>
          <c:invertIfNegative val="0"/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A4B3-4B01-A52A-E282AEF7F82A}"/>
              </c:ext>
            </c:extLst>
          </c:dPt>
          <c:dLbls>
            <c:dLbl>
              <c:idx val="5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A4B3-4B01-A52A-E282AEF7F82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64.900000000000006</c:v>
                </c:pt>
                <c:pt idx="1">
                  <c:v>73.5</c:v>
                </c:pt>
                <c:pt idx="2">
                  <c:v>90.5</c:v>
                </c:pt>
                <c:pt idx="3">
                  <c:v>60.2</c:v>
                </c:pt>
                <c:pt idx="4">
                  <c:v>57.4</c:v>
                </c:pt>
                <c:pt idx="5">
                  <c:v>39.4</c:v>
                </c:pt>
                <c:pt idx="6">
                  <c:v>35</c:v>
                </c:pt>
                <c:pt idx="7">
                  <c:v>60.3</c:v>
                </c:pt>
                <c:pt idx="8">
                  <c:v>38.200000000000003</c:v>
                </c:pt>
                <c:pt idx="9">
                  <c:v>13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4B3-4B01-A52A-E282AEF7F82A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09137024"/>
        <c:axId val="209161216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Pt>
            <c:idx val="1"/>
            <c:marker>
              <c:symbol val="diamond"/>
              <c:size val="7"/>
              <c:spPr>
                <a:solidFill>
                  <a:srgbClr val="E2BCBF"/>
                </a:solidFill>
                <a:ln w="9525" cap="flat" cmpd="sng" algn="ctr">
                  <a:solidFill>
                    <a:srgbClr val="E2BCBF"/>
                  </a:solidFill>
                  <a:round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A4B3-4B01-A52A-E282AEF7F82A}"/>
              </c:ext>
            </c:extLst>
          </c:dPt>
          <c:dPt>
            <c:idx val="2"/>
            <c:marker>
              <c:symbol val="diamond"/>
              <c:size val="7"/>
              <c:spPr>
                <a:solidFill>
                  <a:srgbClr val="E2BCBF"/>
                </a:solidFill>
                <a:ln w="9525" cap="flat" cmpd="sng" algn="ctr">
                  <a:solidFill>
                    <a:srgbClr val="E2BCBF"/>
                  </a:solidFill>
                  <a:round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A4B3-4B01-A52A-E282AEF7F82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C$2:$C$11</c:f>
              <c:numCache>
                <c:formatCode>0%</c:formatCode>
                <c:ptCount val="10"/>
                <c:pt idx="0">
                  <c:v>#N/A</c:v>
                </c:pt>
                <c:pt idx="1">
                  <c:v>1.1325115562403698</c:v>
                </c:pt>
                <c:pt idx="2" formatCode="0.00%">
                  <c:v>0.65390173410404617</c:v>
                </c:pt>
                <c:pt idx="3" formatCode="0.00%">
                  <c:v>0.26299694189602446</c:v>
                </c:pt>
                <c:pt idx="4" formatCode="0.00%">
                  <c:v>0.19854721549636803</c:v>
                </c:pt>
                <c:pt idx="5" formatCode="0.00%">
                  <c:v>0.1137085137085137</c:v>
                </c:pt>
                <c:pt idx="6" formatCode="0.00%">
                  <c:v>9.0697071780253963E-2</c:v>
                </c:pt>
                <c:pt idx="7" formatCode="0.00%">
                  <c:v>0.14326443335709194</c:v>
                </c:pt>
                <c:pt idx="8" formatCode="0.00%">
                  <c:v>7.9384871155444736E-2</c:v>
                </c:pt>
                <c:pt idx="9" formatCode="0.00%">
                  <c:v>2.6761648055448596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4B3-4B01-A52A-E282AEF7F82A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rgbClr val="898989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98989"/>
              </a:solidFill>
              <a:ln w="9525" cap="flat" cmpd="sng" algn="ctr">
                <a:solidFill>
                  <a:srgbClr val="898989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A4A4A4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D$2:$D$11</c:f>
              <c:numCache>
                <c:formatCode>0%</c:formatCode>
                <c:ptCount val="10"/>
                <c:pt idx="0">
                  <c:v>#N/A</c:v>
                </c:pt>
                <c:pt idx="1">
                  <c:v>0.1325115562403697</c:v>
                </c:pt>
                <c:pt idx="2" formatCode="0.00%">
                  <c:v>0.23129251700680273</c:v>
                </c:pt>
                <c:pt idx="3" formatCode="0.00%">
                  <c:v>-0.33480662983425413</c:v>
                </c:pt>
                <c:pt idx="4" formatCode="0.00%">
                  <c:v>-4.6511627906976813E-2</c:v>
                </c:pt>
                <c:pt idx="5" formatCode="0.00%">
                  <c:v>-0.31358885017421606</c:v>
                </c:pt>
                <c:pt idx="6" formatCode="0.00%">
                  <c:v>-0.11167512690355327</c:v>
                </c:pt>
                <c:pt idx="7" formatCode="0.00%">
                  <c:v>0.72285714285714275</c:v>
                </c:pt>
                <c:pt idx="8" formatCode="0.00%">
                  <c:v>-0.36650082918739629</c:v>
                </c:pt>
                <c:pt idx="9" formatCode="0.00%">
                  <c:v>-0.6361256544502618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A4B3-4B01-A52A-E282AEF7F82A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9769984"/>
        <c:axId val="209659008"/>
      </c:lineChart>
      <c:catAx>
        <c:axId val="20913702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Month</a:t>
                </a:r>
                <a:endParaRPr lang="zh-CN" altLang="en-US" cap="none" baseline="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9161216"/>
        <c:crosses val="autoZero"/>
        <c:auto val="1"/>
        <c:lblAlgn val="ctr"/>
        <c:lblOffset val="100"/>
        <c:noMultiLvlLbl val="0"/>
      </c:catAx>
      <c:valAx>
        <c:axId val="209161216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9137024"/>
        <c:crosses val="autoZero"/>
        <c:crossBetween val="between"/>
      </c:valAx>
      <c:catAx>
        <c:axId val="20976998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09659008"/>
        <c:crosses val="autoZero"/>
        <c:auto val="1"/>
        <c:lblAlgn val="ctr"/>
        <c:lblOffset val="100"/>
        <c:noMultiLvlLbl val="0"/>
      </c:catAx>
      <c:valAx>
        <c:axId val="209659008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976998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rgbClr val="A3A3A3"/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altLang="zh-CN" sz="1800" b="0" i="0" u="none" strike="noStrike" kern="1200" spc="0" baseline="0" dirty="0" smtClean="0">
                <a:solidFill>
                  <a:srgbClr val="000000">
                    <a:lumMod val="65000"/>
                    <a:lumOff val="35000"/>
                  </a:srgbClr>
                </a:solidFill>
                <a:effectLst/>
                <a:latin typeface="+mn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effectLst/>
                <a:latin typeface="+mn-lt"/>
                <a:ea typeface="+mn-ea"/>
                <a:cs typeface="+mn-cs"/>
              </a:rPr>
              <a:t>User Activities-CW 02</a:t>
            </a:r>
          </a:p>
        </c:rich>
      </c:tx>
      <c:layout>
        <c:manualLayout>
          <c:xMode val="edge"/>
          <c:yMode val="edge"/>
          <c:x val="0.28373305188703302"/>
          <c:y val="1.449275362318840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altLang="zh-CN" sz="1800" b="0" i="0" u="none" strike="noStrike" kern="1200" spc="0" baseline="0" dirty="0" smtClean="0">
              <a:solidFill>
                <a:srgbClr val="000000">
                  <a:lumMod val="65000"/>
                  <a:lumOff val="35000"/>
                </a:srgbClr>
              </a:solidFill>
              <a:effectLst/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iscover Mor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6:$A$22</c:f>
              <c:numCache>
                <c:formatCode>m/d/yyyy</c:formatCode>
                <c:ptCount val="7"/>
                <c:pt idx="0">
                  <c:v>43836</c:v>
                </c:pt>
                <c:pt idx="1">
                  <c:v>43837</c:v>
                </c:pt>
                <c:pt idx="2">
                  <c:v>43838</c:v>
                </c:pt>
                <c:pt idx="3">
                  <c:v>43839</c:v>
                </c:pt>
                <c:pt idx="4">
                  <c:v>43840</c:v>
                </c:pt>
                <c:pt idx="5">
                  <c:v>43841</c:v>
                </c:pt>
                <c:pt idx="6">
                  <c:v>43842</c:v>
                </c:pt>
              </c:numCache>
            </c:numRef>
          </c:cat>
          <c:val>
            <c:numRef>
              <c:f>Sheet1!$B$16:$B$22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3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50FF-43BB-88F7-B4491426F23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ntact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numRef>
              <c:f>Sheet1!$A$16:$A$22</c:f>
              <c:numCache>
                <c:formatCode>m/d/yyyy</c:formatCode>
                <c:ptCount val="7"/>
                <c:pt idx="0">
                  <c:v>43836</c:v>
                </c:pt>
                <c:pt idx="1">
                  <c:v>43837</c:v>
                </c:pt>
                <c:pt idx="2">
                  <c:v>43838</c:v>
                </c:pt>
                <c:pt idx="3">
                  <c:v>43839</c:v>
                </c:pt>
                <c:pt idx="4">
                  <c:v>43840</c:v>
                </c:pt>
                <c:pt idx="5">
                  <c:v>43841</c:v>
                </c:pt>
                <c:pt idx="6">
                  <c:v>43842</c:v>
                </c:pt>
              </c:numCache>
            </c:numRef>
          </c:cat>
          <c:val>
            <c:numRef>
              <c:f>Sheet1!$C$16:$C$22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50FF-43BB-88F7-B4491426F23A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Request Test Driv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50FF-43BB-88F7-B4491426F23A}"/>
              </c:ext>
            </c:extLst>
          </c:dPt>
          <c:cat>
            <c:numRef>
              <c:f>Sheet1!$A$16:$A$22</c:f>
              <c:numCache>
                <c:formatCode>m/d/yyyy</c:formatCode>
                <c:ptCount val="7"/>
                <c:pt idx="0">
                  <c:v>43836</c:v>
                </c:pt>
                <c:pt idx="1">
                  <c:v>43837</c:v>
                </c:pt>
                <c:pt idx="2">
                  <c:v>43838</c:v>
                </c:pt>
                <c:pt idx="3">
                  <c:v>43839</c:v>
                </c:pt>
                <c:pt idx="4">
                  <c:v>43840</c:v>
                </c:pt>
                <c:pt idx="5">
                  <c:v>43841</c:v>
                </c:pt>
                <c:pt idx="6">
                  <c:v>43842</c:v>
                </c:pt>
              </c:numCache>
            </c:numRef>
          </c:cat>
          <c:val>
            <c:numRef>
              <c:f>Sheet1!$D$16:$D$22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50FF-43BB-88F7-B4491426F2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100"/>
        <c:axId val="224871552"/>
        <c:axId val="224873472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DF3-40A2-9D87-3A451B6168D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16:$A$22</c:f>
              <c:numCache>
                <c:formatCode>m/d/yyyy</c:formatCode>
                <c:ptCount val="7"/>
                <c:pt idx="0">
                  <c:v>43836</c:v>
                </c:pt>
                <c:pt idx="1">
                  <c:v>43837</c:v>
                </c:pt>
                <c:pt idx="2">
                  <c:v>43838</c:v>
                </c:pt>
                <c:pt idx="3">
                  <c:v>43839</c:v>
                </c:pt>
                <c:pt idx="4">
                  <c:v>43840</c:v>
                </c:pt>
                <c:pt idx="5">
                  <c:v>43841</c:v>
                </c:pt>
                <c:pt idx="6">
                  <c:v>43842</c:v>
                </c:pt>
              </c:numCache>
            </c:numRef>
          </c:cat>
          <c:val>
            <c:numRef>
              <c:f>Sheet1!$E$16:$E$22</c:f>
              <c:numCache>
                <c:formatCode>0%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.5</c:v>
                </c:pt>
                <c:pt idx="4">
                  <c:v>-0.6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1-50FF-43BB-88F7-B4491426F2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24905856"/>
        <c:axId val="224904320"/>
      </c:lineChart>
      <c:dateAx>
        <c:axId val="22487155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24873472"/>
        <c:crosses val="autoZero"/>
        <c:auto val="1"/>
        <c:lblOffset val="100"/>
        <c:baseTimeUnit val="days"/>
      </c:dateAx>
      <c:valAx>
        <c:axId val="2248734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Amount</a:t>
                </a:r>
                <a:endParaRPr lang="zh-CN" altLang="en-US" sz="12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24871552"/>
        <c:crosses val="autoZero"/>
        <c:crossBetween val="between"/>
        <c:majorUnit val="1"/>
      </c:valAx>
      <c:dateAx>
        <c:axId val="224905856"/>
        <c:scaling>
          <c:orientation val="minMax"/>
        </c:scaling>
        <c:delete val="1"/>
        <c:axPos val="b"/>
        <c:numFmt formatCode="m/d/yyyy" sourceLinked="1"/>
        <c:majorTickMark val="out"/>
        <c:minorTickMark val="none"/>
        <c:tickLblPos val="nextTo"/>
        <c:crossAx val="224904320"/>
        <c:crosses val="autoZero"/>
        <c:auto val="1"/>
        <c:lblOffset val="100"/>
        <c:baseTimeUnit val="days"/>
      </c:dateAx>
      <c:valAx>
        <c:axId val="22490432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2490585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altLang="zh-CN" sz="1800" b="0" i="0" u="none" strike="noStrike" kern="1200" spc="0" baseline="0" dirty="0" smtClean="0">
                <a:solidFill>
                  <a:srgbClr val="000000">
                    <a:lumMod val="65000"/>
                    <a:lumOff val="35000"/>
                  </a:srgbClr>
                </a:solidFill>
                <a:effectLst/>
                <a:latin typeface="+mn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effectLst/>
                <a:latin typeface="+mn-lt"/>
                <a:ea typeface="+mn-ea"/>
                <a:cs typeface="+mn-cs"/>
              </a:rPr>
              <a:t>User Activities-CW 01</a:t>
            </a:r>
          </a:p>
        </c:rich>
      </c:tx>
      <c:layout>
        <c:manualLayout>
          <c:xMode val="edge"/>
          <c:yMode val="edge"/>
          <c:x val="0.28373305188703302"/>
          <c:y val="1.449275362318840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altLang="zh-CN" sz="1800" b="0" i="0" u="none" strike="noStrike" kern="1200" spc="0" baseline="0" dirty="0" smtClean="0">
              <a:solidFill>
                <a:srgbClr val="000000">
                  <a:lumMod val="65000"/>
                  <a:lumOff val="35000"/>
                </a:srgbClr>
              </a:solidFill>
              <a:effectLst/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iscover Mor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:$A$15</c:f>
              <c:numCache>
                <c:formatCode>m/d/yyyy</c:formatCode>
                <c:ptCount val="7"/>
                <c:pt idx="0">
                  <c:v>43829</c:v>
                </c:pt>
                <c:pt idx="1">
                  <c:v>43830</c:v>
                </c:pt>
                <c:pt idx="2">
                  <c:v>43831</c:v>
                </c:pt>
                <c:pt idx="3">
                  <c:v>43832</c:v>
                </c:pt>
                <c:pt idx="4">
                  <c:v>43833</c:v>
                </c:pt>
                <c:pt idx="5">
                  <c:v>43834</c:v>
                </c:pt>
                <c:pt idx="6">
                  <c:v>43835</c:v>
                </c:pt>
              </c:numCache>
            </c:numRef>
          </c:cat>
          <c:val>
            <c:numRef>
              <c:f>Sheet1!$B$9:$B$15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1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0F1-4362-B575-F69887B9F6D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ntact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numRef>
              <c:f>Sheet1!$A$9:$A$15</c:f>
              <c:numCache>
                <c:formatCode>m/d/yyyy</c:formatCode>
                <c:ptCount val="7"/>
                <c:pt idx="0">
                  <c:v>43829</c:v>
                </c:pt>
                <c:pt idx="1">
                  <c:v>43830</c:v>
                </c:pt>
                <c:pt idx="2">
                  <c:v>43831</c:v>
                </c:pt>
                <c:pt idx="3">
                  <c:v>43832</c:v>
                </c:pt>
                <c:pt idx="4">
                  <c:v>43833</c:v>
                </c:pt>
                <c:pt idx="5">
                  <c:v>43834</c:v>
                </c:pt>
                <c:pt idx="6">
                  <c:v>43835</c:v>
                </c:pt>
              </c:numCache>
            </c:numRef>
          </c:cat>
          <c:val>
            <c:numRef>
              <c:f>Sheet1!$C$9:$C$15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0F1-4362-B575-F69887B9F6DA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Request Test Driv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60F1-4362-B575-F69887B9F6DA}"/>
              </c:ext>
            </c:extLst>
          </c:dPt>
          <c:cat>
            <c:numRef>
              <c:f>Sheet1!$A$9:$A$15</c:f>
              <c:numCache>
                <c:formatCode>m/d/yyyy</c:formatCode>
                <c:ptCount val="7"/>
                <c:pt idx="0">
                  <c:v>43829</c:v>
                </c:pt>
                <c:pt idx="1">
                  <c:v>43830</c:v>
                </c:pt>
                <c:pt idx="2">
                  <c:v>43831</c:v>
                </c:pt>
                <c:pt idx="3">
                  <c:v>43832</c:v>
                </c:pt>
                <c:pt idx="4">
                  <c:v>43833</c:v>
                </c:pt>
                <c:pt idx="5">
                  <c:v>43834</c:v>
                </c:pt>
                <c:pt idx="6">
                  <c:v>43835</c:v>
                </c:pt>
              </c:numCache>
            </c:numRef>
          </c:cat>
          <c:val>
            <c:numRef>
              <c:f>Sheet1!$D$9:$D$15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0F1-4362-B575-F69887B9F6D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100"/>
        <c:axId val="224871552"/>
        <c:axId val="224873472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60F1-4362-B575-F69887B9F6D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9:$A$15</c:f>
              <c:numCache>
                <c:formatCode>m/d/yyyy</c:formatCode>
                <c:ptCount val="7"/>
                <c:pt idx="0">
                  <c:v>43829</c:v>
                </c:pt>
                <c:pt idx="1">
                  <c:v>43830</c:v>
                </c:pt>
                <c:pt idx="2">
                  <c:v>43831</c:v>
                </c:pt>
                <c:pt idx="3">
                  <c:v>43832</c:v>
                </c:pt>
                <c:pt idx="4">
                  <c:v>43833</c:v>
                </c:pt>
                <c:pt idx="5">
                  <c:v>43834</c:v>
                </c:pt>
                <c:pt idx="6">
                  <c:v>43835</c:v>
                </c:pt>
              </c:numCache>
            </c:numRef>
          </c:cat>
          <c:val>
            <c:numRef>
              <c:f>Sheet1!$E$9:$E$15</c:f>
              <c:numCache>
                <c:formatCode>0%</c:formatCode>
                <c:ptCount val="7"/>
                <c:pt idx="0">
                  <c:v>-1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1</c:v>
                </c:pt>
                <c:pt idx="6">
                  <c:v>-0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60F1-4362-B575-F69887B9F6D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24905856"/>
        <c:axId val="224904320"/>
      </c:lineChart>
      <c:dateAx>
        <c:axId val="22487155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24873472"/>
        <c:crosses val="autoZero"/>
        <c:auto val="1"/>
        <c:lblOffset val="100"/>
        <c:baseTimeUnit val="days"/>
      </c:dateAx>
      <c:valAx>
        <c:axId val="2248734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Amount</a:t>
                </a:r>
                <a:endParaRPr lang="zh-CN" altLang="en-US" sz="12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24871552"/>
        <c:crosses val="autoZero"/>
        <c:crossBetween val="between"/>
        <c:majorUnit val="1"/>
      </c:valAx>
      <c:dateAx>
        <c:axId val="224905856"/>
        <c:scaling>
          <c:orientation val="minMax"/>
        </c:scaling>
        <c:delete val="1"/>
        <c:axPos val="b"/>
        <c:numFmt formatCode="m/d/yyyy" sourceLinked="1"/>
        <c:majorTickMark val="out"/>
        <c:minorTickMark val="none"/>
        <c:tickLblPos val="nextTo"/>
        <c:crossAx val="224904320"/>
        <c:crosses val="autoZero"/>
        <c:auto val="1"/>
        <c:lblOffset val="100"/>
        <c:baseTimeUnit val="days"/>
      </c:dateAx>
      <c:valAx>
        <c:axId val="22490432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2490585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>
                <a:solidFill>
                  <a:schemeClr val="bg1">
                    <a:lumMod val="50000"/>
                  </a:schemeClr>
                </a:solidFill>
              </a:rPr>
              <a:t>Weekly User Activities</a:t>
            </a:r>
            <a:endParaRPr lang="zh-CN" altLang="en-US" sz="1800" b="0" cap="none" baseline="0" dirty="0">
              <a:solidFill>
                <a:schemeClr val="bg1">
                  <a:lumMod val="50000"/>
                </a:schemeClr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2200" b="1" i="0" u="none" strike="noStrike" kern="1200" cap="all" spc="50" baseline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6.8890075988275637E-2"/>
          <c:y val="8.2755886458560898E-2"/>
          <c:w val="0.83566388270874092"/>
          <c:h val="0.71878493129535304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DiscoverMore</c:v>
                </c:pt>
              </c:strCache>
            </c:strRef>
          </c:tx>
          <c:spPr>
            <a:solidFill>
              <a:srgbClr val="C6C6C6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4629-4B6C-BA4C-1FA3C611AA91}"/>
                </c:ext>
              </c:extLst>
            </c:dLbl>
            <c:dLbl>
              <c:idx val="18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4629-4B6C-BA4C-1FA3C611AA9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1</c:f>
              <c:strCache>
                <c:ptCount val="4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</c:strCache>
            </c:strRef>
          </c:cat>
          <c:val>
            <c:numRef>
              <c:f>Sheet1!$B$2:$B$41</c:f>
              <c:numCache>
                <c:formatCode>General</c:formatCode>
                <c:ptCount val="40"/>
                <c:pt idx="0">
                  <c:v>1</c:v>
                </c:pt>
                <c:pt idx="1">
                  <c:v>17</c:v>
                </c:pt>
                <c:pt idx="2">
                  <c:v>31</c:v>
                </c:pt>
                <c:pt idx="3">
                  <c:v>22</c:v>
                </c:pt>
                <c:pt idx="4">
                  <c:v>31</c:v>
                </c:pt>
                <c:pt idx="5">
                  <c:v>6</c:v>
                </c:pt>
                <c:pt idx="6">
                  <c:v>10</c:v>
                </c:pt>
                <c:pt idx="7">
                  <c:v>4</c:v>
                </c:pt>
                <c:pt idx="8">
                  <c:v>8</c:v>
                </c:pt>
                <c:pt idx="9">
                  <c:v>46</c:v>
                </c:pt>
                <c:pt idx="10">
                  <c:v>10</c:v>
                </c:pt>
                <c:pt idx="11">
                  <c:v>9</c:v>
                </c:pt>
                <c:pt idx="12">
                  <c:v>11</c:v>
                </c:pt>
                <c:pt idx="13">
                  <c:v>5</c:v>
                </c:pt>
                <c:pt idx="14">
                  <c:v>4</c:v>
                </c:pt>
                <c:pt idx="15">
                  <c:v>3</c:v>
                </c:pt>
                <c:pt idx="16">
                  <c:v>2</c:v>
                </c:pt>
                <c:pt idx="17">
                  <c:v>2</c:v>
                </c:pt>
                <c:pt idx="18">
                  <c:v>1</c:v>
                </c:pt>
                <c:pt idx="19">
                  <c:v>7</c:v>
                </c:pt>
                <c:pt idx="20">
                  <c:v>7</c:v>
                </c:pt>
                <c:pt idx="21">
                  <c:v>6</c:v>
                </c:pt>
                <c:pt idx="22">
                  <c:v>8</c:v>
                </c:pt>
                <c:pt idx="23">
                  <c:v>5</c:v>
                </c:pt>
                <c:pt idx="24">
                  <c:v>3</c:v>
                </c:pt>
                <c:pt idx="25">
                  <c:v>6</c:v>
                </c:pt>
                <c:pt idx="26">
                  <c:v>2</c:v>
                </c:pt>
                <c:pt idx="27">
                  <c:v>4</c:v>
                </c:pt>
                <c:pt idx="28">
                  <c:v>6</c:v>
                </c:pt>
                <c:pt idx="29">
                  <c:v>3</c:v>
                </c:pt>
                <c:pt idx="30">
                  <c:v>4</c:v>
                </c:pt>
                <c:pt idx="31">
                  <c:v>4</c:v>
                </c:pt>
                <c:pt idx="32">
                  <c:v>8</c:v>
                </c:pt>
                <c:pt idx="33">
                  <c:v>2</c:v>
                </c:pt>
                <c:pt idx="34">
                  <c:v>5</c:v>
                </c:pt>
                <c:pt idx="35">
                  <c:v>0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39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629-4B6C-BA4C-1FA3C611AA91}"/>
            </c:ext>
          </c:extLst>
        </c:ser>
        <c:ser>
          <c:idx val="2"/>
          <c:order val="1"/>
          <c:tx>
            <c:strRef>
              <c:f>Sheet1!$C$1</c:f>
              <c:strCache>
                <c:ptCount val="1"/>
                <c:pt idx="0">
                  <c:v>Contact</c:v>
                </c:pt>
              </c:strCache>
            </c:strRef>
          </c:tx>
          <c:spPr>
            <a:solidFill>
              <a:srgbClr val="575757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4629-4B6C-BA4C-1FA3C611AA91}"/>
              </c:ext>
            </c:extLst>
          </c:dPt>
          <c:dLbls>
            <c:dLbl>
              <c:idx val="1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4629-4B6C-BA4C-1FA3C611AA91}"/>
                </c:ext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4629-4B6C-BA4C-1FA3C611AA91}"/>
                </c:ext>
              </c:extLst>
            </c:dLbl>
            <c:dLbl>
              <c:idx val="1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4629-4B6C-BA4C-1FA3C611AA91}"/>
                </c:ext>
              </c:extLst>
            </c:dLbl>
            <c:dLbl>
              <c:idx val="1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4629-4B6C-BA4C-1FA3C611AA91}"/>
                </c:ext>
              </c:extLst>
            </c:dLbl>
            <c:dLbl>
              <c:idx val="1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4629-4B6C-BA4C-1FA3C611AA91}"/>
                </c:ext>
              </c:extLst>
            </c:dLbl>
            <c:dLbl>
              <c:idx val="1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4629-4B6C-BA4C-1FA3C611AA91}"/>
                </c:ext>
              </c:extLst>
            </c:dLbl>
            <c:dLbl>
              <c:idx val="1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4629-4B6C-BA4C-1FA3C611AA91}"/>
                </c:ext>
              </c:extLst>
            </c:dLbl>
            <c:dLbl>
              <c:idx val="1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4629-4B6C-BA4C-1FA3C611AA91}"/>
                </c:ext>
              </c:extLst>
            </c:dLbl>
            <c:dLbl>
              <c:idx val="1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4629-4B6C-BA4C-1FA3C611AA91}"/>
                </c:ext>
              </c:extLst>
            </c:dLbl>
            <c:dLbl>
              <c:idx val="1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4629-4B6C-BA4C-1FA3C611AA91}"/>
                </c:ext>
              </c:extLst>
            </c:dLbl>
            <c:dLbl>
              <c:idx val="2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4629-4B6C-BA4C-1FA3C611AA91}"/>
                </c:ext>
              </c:extLst>
            </c:dLbl>
            <c:dLbl>
              <c:idx val="2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4629-4B6C-BA4C-1FA3C611AA91}"/>
                </c:ext>
              </c:extLst>
            </c:dLbl>
            <c:dLbl>
              <c:idx val="2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434-4498-9C12-1C2CE627FB6E}"/>
                </c:ext>
              </c:extLst>
            </c:dLbl>
            <c:dLbl>
              <c:idx val="2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434-4498-9C12-1C2CE627FB6E}"/>
                </c:ext>
              </c:extLst>
            </c:dLbl>
            <c:dLbl>
              <c:idx val="2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1EC-4B58-9320-8B2F91D2DE44}"/>
                </c:ext>
              </c:extLst>
            </c:dLbl>
            <c:dLbl>
              <c:idx val="3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F4B0-45AD-8418-5129DCFA0658}"/>
                </c:ext>
              </c:extLst>
            </c:dLbl>
            <c:dLbl>
              <c:idx val="3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C0D-4C21-B5F0-C27A3879341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1</c:f>
              <c:strCache>
                <c:ptCount val="4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</c:strCache>
            </c:strRef>
          </c:cat>
          <c:val>
            <c:numRef>
              <c:f>Sheet1!$C$2:$C$41</c:f>
              <c:numCache>
                <c:formatCode>General</c:formatCode>
                <c:ptCount val="40"/>
                <c:pt idx="0">
                  <c:v>2</c:v>
                </c:pt>
                <c:pt idx="1">
                  <c:v>10</c:v>
                </c:pt>
                <c:pt idx="2">
                  <c:v>2</c:v>
                </c:pt>
                <c:pt idx="3">
                  <c:v>4</c:v>
                </c:pt>
                <c:pt idx="4">
                  <c:v>9</c:v>
                </c:pt>
                <c:pt idx="5">
                  <c:v>7</c:v>
                </c:pt>
                <c:pt idx="6">
                  <c:v>41</c:v>
                </c:pt>
                <c:pt idx="7">
                  <c:v>6</c:v>
                </c:pt>
                <c:pt idx="8">
                  <c:v>1</c:v>
                </c:pt>
                <c:pt idx="9">
                  <c:v>7</c:v>
                </c:pt>
                <c:pt idx="10">
                  <c:v>1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2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0</c:v>
                </c:pt>
                <c:pt idx="28">
                  <c:v>0</c:v>
                </c:pt>
                <c:pt idx="29">
                  <c:v>1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1</c:v>
                </c:pt>
                <c:pt idx="35">
                  <c:v>1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4629-4B6C-BA4C-1FA3C611AA91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Request Test Drive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dLbls>
            <c:dLbl>
              <c:idx val="1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4629-4B6C-BA4C-1FA3C611AA91}"/>
                </c:ext>
              </c:extLst>
            </c:dLbl>
            <c:dLbl>
              <c:idx val="1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4629-4B6C-BA4C-1FA3C611AA91}"/>
                </c:ext>
              </c:extLst>
            </c:dLbl>
            <c:dLbl>
              <c:idx val="1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4629-4B6C-BA4C-1FA3C611AA91}"/>
                </c:ext>
              </c:extLst>
            </c:dLbl>
            <c:dLbl>
              <c:idx val="1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4629-4B6C-BA4C-1FA3C611AA91}"/>
                </c:ext>
              </c:extLst>
            </c:dLbl>
            <c:dLbl>
              <c:idx val="1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A-4629-4B6C-BA4C-1FA3C611AA91}"/>
                </c:ext>
              </c:extLst>
            </c:dLbl>
            <c:dLbl>
              <c:idx val="1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B-4629-4B6C-BA4C-1FA3C611AA91}"/>
                </c:ext>
              </c:extLst>
            </c:dLbl>
            <c:dLbl>
              <c:idx val="2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C-4629-4B6C-BA4C-1FA3C611AA91}"/>
                </c:ext>
              </c:extLst>
            </c:dLbl>
            <c:dLbl>
              <c:idx val="3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C0D-4C21-B5F0-C27A3879341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1</c:f>
              <c:strCache>
                <c:ptCount val="4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</c:strCache>
            </c:strRef>
          </c:cat>
          <c:val>
            <c:numRef>
              <c:f>Sheet1!$D$2:$D$41</c:f>
              <c:numCache>
                <c:formatCode>General</c:formatCode>
                <c:ptCount val="40"/>
                <c:pt idx="0">
                  <c:v>1</c:v>
                </c:pt>
                <c:pt idx="1">
                  <c:v>12</c:v>
                </c:pt>
                <c:pt idx="2">
                  <c:v>2</c:v>
                </c:pt>
                <c:pt idx="3">
                  <c:v>7</c:v>
                </c:pt>
                <c:pt idx="4">
                  <c:v>5</c:v>
                </c:pt>
                <c:pt idx="5">
                  <c:v>10</c:v>
                </c:pt>
                <c:pt idx="6">
                  <c:v>13</c:v>
                </c:pt>
                <c:pt idx="7">
                  <c:v>8</c:v>
                </c:pt>
                <c:pt idx="8">
                  <c:v>1</c:v>
                </c:pt>
                <c:pt idx="9">
                  <c:v>25</c:v>
                </c:pt>
                <c:pt idx="10">
                  <c:v>2</c:v>
                </c:pt>
                <c:pt idx="11">
                  <c:v>0</c:v>
                </c:pt>
                <c:pt idx="12">
                  <c:v>1</c:v>
                </c:pt>
                <c:pt idx="13">
                  <c:v>1</c:v>
                </c:pt>
                <c:pt idx="14">
                  <c:v>0</c:v>
                </c:pt>
                <c:pt idx="15">
                  <c:v>0</c:v>
                </c:pt>
                <c:pt idx="16">
                  <c:v>1</c:v>
                </c:pt>
                <c:pt idx="17">
                  <c:v>0</c:v>
                </c:pt>
                <c:pt idx="18">
                  <c:v>0</c:v>
                </c:pt>
                <c:pt idx="19">
                  <c:v>4</c:v>
                </c:pt>
                <c:pt idx="20">
                  <c:v>2</c:v>
                </c:pt>
                <c:pt idx="21">
                  <c:v>0</c:v>
                </c:pt>
                <c:pt idx="22">
                  <c:v>5</c:v>
                </c:pt>
                <c:pt idx="23">
                  <c:v>1</c:v>
                </c:pt>
                <c:pt idx="24">
                  <c:v>2</c:v>
                </c:pt>
                <c:pt idx="25">
                  <c:v>1</c:v>
                </c:pt>
                <c:pt idx="26">
                  <c:v>2</c:v>
                </c:pt>
                <c:pt idx="27">
                  <c:v>1</c:v>
                </c:pt>
                <c:pt idx="28">
                  <c:v>1</c:v>
                </c:pt>
                <c:pt idx="29">
                  <c:v>2</c:v>
                </c:pt>
                <c:pt idx="30">
                  <c:v>1</c:v>
                </c:pt>
                <c:pt idx="31">
                  <c:v>0</c:v>
                </c:pt>
                <c:pt idx="32">
                  <c:v>1</c:v>
                </c:pt>
                <c:pt idx="33">
                  <c:v>1</c:v>
                </c:pt>
                <c:pt idx="34">
                  <c:v>3</c:v>
                </c:pt>
                <c:pt idx="35">
                  <c:v>1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D-4629-4B6C-BA4C-1FA3C611AA9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56179200"/>
        <c:axId val="256193664"/>
      </c:barChart>
      <c:lineChart>
        <c:grouping val="standard"/>
        <c:varyColors val="0"/>
        <c:ser>
          <c:idx val="4"/>
          <c:order val="3"/>
          <c:tx>
            <c:strRef>
              <c:f>Sheet1!$E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cat>
            <c:strRef>
              <c:f>Sheet1!$A$2:$A$41</c:f>
              <c:strCache>
                <c:ptCount val="4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</c:strCache>
            </c:strRef>
          </c:cat>
          <c:val>
            <c:numRef>
              <c:f>Sheet1!$E$2:$E$41</c:f>
              <c:numCache>
                <c:formatCode>0.00%</c:formatCode>
                <c:ptCount val="40"/>
                <c:pt idx="0">
                  <c:v>1</c:v>
                </c:pt>
                <c:pt idx="1">
                  <c:v>9.75</c:v>
                </c:pt>
                <c:pt idx="2">
                  <c:v>0.81395348837209303</c:v>
                </c:pt>
                <c:pt idx="3">
                  <c:v>0.42307692307692307</c:v>
                </c:pt>
                <c:pt idx="4">
                  <c:v>0.40540540540540543</c:v>
                </c:pt>
                <c:pt idx="5">
                  <c:v>0.14743589743589744</c:v>
                </c:pt>
                <c:pt idx="6">
                  <c:v>0.35754189944134079</c:v>
                </c:pt>
                <c:pt idx="7">
                  <c:v>7.407407407407407E-2</c:v>
                </c:pt>
                <c:pt idx="8">
                  <c:v>3.8314176245210725E-2</c:v>
                </c:pt>
                <c:pt idx="9">
                  <c:v>0.28782287822878228</c:v>
                </c:pt>
                <c:pt idx="10">
                  <c:v>3.7249283667621778E-2</c:v>
                </c:pt>
                <c:pt idx="11">
                  <c:v>2.4861878453038673E-2</c:v>
                </c:pt>
                <c:pt idx="12">
                  <c:v>3.2345013477088951E-2</c:v>
                </c:pt>
                <c:pt idx="13">
                  <c:v>1.5665796344647518E-2</c:v>
                </c:pt>
                <c:pt idx="14">
                  <c:v>1.0282776349614395E-2</c:v>
                </c:pt>
                <c:pt idx="15">
                  <c:v>7.6335877862595417E-3</c:v>
                </c:pt>
                <c:pt idx="16">
                  <c:v>7.575757575757576E-3</c:v>
                </c:pt>
                <c:pt idx="17">
                  <c:v>5.0125313283208017E-3</c:v>
                </c:pt>
                <c:pt idx="18">
                  <c:v>2.4937655860349127E-3</c:v>
                </c:pt>
                <c:pt idx="19">
                  <c:v>2.736318407960199E-2</c:v>
                </c:pt>
                <c:pt idx="20">
                  <c:v>2.6634382566585957E-2</c:v>
                </c:pt>
                <c:pt idx="21">
                  <c:v>1.4150943396226415E-2</c:v>
                </c:pt>
                <c:pt idx="22">
                  <c:v>3.0232558139534883E-2</c:v>
                </c:pt>
                <c:pt idx="23">
                  <c:v>1.3544018058690745E-2</c:v>
                </c:pt>
                <c:pt idx="24">
                  <c:v>1.3363028953229399E-2</c:v>
                </c:pt>
                <c:pt idx="25">
                  <c:v>1.7582417582417582E-2</c:v>
                </c:pt>
                <c:pt idx="26">
                  <c:v>1.079913606911447E-2</c:v>
                </c:pt>
                <c:pt idx="27">
                  <c:v>1.0683760683760684E-2</c:v>
                </c:pt>
                <c:pt idx="28">
                  <c:v>1.4799154334038054E-2</c:v>
                </c:pt>
                <c:pt idx="29">
                  <c:v>1.2500000000000001E-2</c:v>
                </c:pt>
                <c:pt idx="30">
                  <c:v>1.0288065843621399E-2</c:v>
                </c:pt>
                <c:pt idx="31">
                  <c:v>8.1466395112016286E-3</c:v>
                </c:pt>
                <c:pt idx="32">
                  <c:v>1.8181818181818181E-2</c:v>
                </c:pt>
                <c:pt idx="33">
                  <c:v>5.9523809523809521E-3</c:v>
                </c:pt>
                <c:pt idx="34">
                  <c:v>1.7751479289940829E-2</c:v>
                </c:pt>
                <c:pt idx="35">
                  <c:v>3.875968992248062E-3</c:v>
                </c:pt>
                <c:pt idx="36">
                  <c:v>1.9305019305019305E-3</c:v>
                </c:pt>
                <c:pt idx="37">
                  <c:v>1.9267822736030828E-3</c:v>
                </c:pt>
                <c:pt idx="38">
                  <c:v>1.9230769230769232E-3</c:v>
                </c:pt>
                <c:pt idx="39">
                  <c:v>5.7581573896353169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E-4629-4B6C-BA4C-1FA3C611AA91}"/>
            </c:ext>
          </c:extLst>
        </c:ser>
        <c:ser>
          <c:idx val="0"/>
          <c:order val="4"/>
          <c:tx>
            <c:strRef>
              <c:f>Sheet1!$F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98989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898989"/>
              </a:solidFill>
              <a:ln w="9525" cap="flat" cmpd="sng" algn="ctr">
                <a:solidFill>
                  <a:srgbClr val="898989"/>
                </a:solidFill>
                <a:round/>
              </a:ln>
              <a:effectLst/>
            </c:spPr>
          </c:marker>
          <c:cat>
            <c:strRef>
              <c:f>Sheet1!$A$2:$A$41</c:f>
              <c:strCache>
                <c:ptCount val="4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</c:strCache>
            </c:strRef>
          </c:cat>
          <c:val>
            <c:numRef>
              <c:f>Sheet1!$F$2:$F$41</c:f>
              <c:numCache>
                <c:formatCode>0.00%</c:formatCode>
                <c:ptCount val="40"/>
                <c:pt idx="0">
                  <c:v>0</c:v>
                </c:pt>
                <c:pt idx="1">
                  <c:v>8.75</c:v>
                </c:pt>
                <c:pt idx="2">
                  <c:v>-0.26535480023852115</c:v>
                </c:pt>
                <c:pt idx="3">
                  <c:v>-5.7142857142857141E-2</c:v>
                </c:pt>
                <c:pt idx="4">
                  <c:v>0.36363636363636365</c:v>
                </c:pt>
                <c:pt idx="5">
                  <c:v>-0.48888888888888887</c:v>
                </c:pt>
                <c:pt idx="6">
                  <c:v>1.7826086956521738</c:v>
                </c:pt>
                <c:pt idx="7">
                  <c:v>-0.71875</c:v>
                </c:pt>
                <c:pt idx="8">
                  <c:v>-0.44444444444444442</c:v>
                </c:pt>
                <c:pt idx="9">
                  <c:v>6.8</c:v>
                </c:pt>
                <c:pt idx="10">
                  <c:v>-0.83333333333333337</c:v>
                </c:pt>
                <c:pt idx="11">
                  <c:v>-0.30769230769230771</c:v>
                </c:pt>
                <c:pt idx="12">
                  <c:v>0.33333333333333331</c:v>
                </c:pt>
                <c:pt idx="13">
                  <c:v>-0.5</c:v>
                </c:pt>
                <c:pt idx="14">
                  <c:v>-0.33333333333333331</c:v>
                </c:pt>
                <c:pt idx="15">
                  <c:v>-0.25</c:v>
                </c:pt>
                <c:pt idx="16">
                  <c:v>0</c:v>
                </c:pt>
                <c:pt idx="17">
                  <c:v>-0.33333333333333331</c:v>
                </c:pt>
                <c:pt idx="18">
                  <c:v>-0.5</c:v>
                </c:pt>
                <c:pt idx="19">
                  <c:v>10</c:v>
                </c:pt>
                <c:pt idx="20">
                  <c:v>0</c:v>
                </c:pt>
                <c:pt idx="21">
                  <c:v>-0.45454545454545453</c:v>
                </c:pt>
                <c:pt idx="22">
                  <c:v>1.1666666666666667</c:v>
                </c:pt>
                <c:pt idx="23">
                  <c:v>-0.53846153846153844</c:v>
                </c:pt>
                <c:pt idx="24">
                  <c:v>0</c:v>
                </c:pt>
                <c:pt idx="25">
                  <c:v>0.33333333333333331</c:v>
                </c:pt>
                <c:pt idx="26">
                  <c:v>-0.375</c:v>
                </c:pt>
                <c:pt idx="27">
                  <c:v>0</c:v>
                </c:pt>
                <c:pt idx="28">
                  <c:v>0.4</c:v>
                </c:pt>
                <c:pt idx="29">
                  <c:v>-0.14285714285714285</c:v>
                </c:pt>
                <c:pt idx="30">
                  <c:v>-0.16666666666666666</c:v>
                </c:pt>
                <c:pt idx="31">
                  <c:v>-0.2</c:v>
                </c:pt>
                <c:pt idx="32">
                  <c:v>1.25</c:v>
                </c:pt>
                <c:pt idx="33">
                  <c:v>-0.66666666666666663</c:v>
                </c:pt>
                <c:pt idx="34">
                  <c:v>2</c:v>
                </c:pt>
                <c:pt idx="35">
                  <c:v>-0.77777777777777779</c:v>
                </c:pt>
                <c:pt idx="36">
                  <c:v>-0.5</c:v>
                </c:pt>
                <c:pt idx="37">
                  <c:v>0</c:v>
                </c:pt>
                <c:pt idx="38">
                  <c:v>0</c:v>
                </c:pt>
                <c:pt idx="39">
                  <c:v>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F-4629-4B6C-BA4C-1FA3C611AA9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56205568"/>
        <c:axId val="256195584"/>
      </c:lineChart>
      <c:catAx>
        <c:axId val="25617920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95" b="0" i="0" u="none" strike="noStrike" cap="all" baseline="0" dirty="0">
                    <a:effectLst/>
                  </a:rPr>
                  <a:t>2019-2020 </a:t>
                </a:r>
                <a:r>
                  <a:rPr lang="en-US" altLang="zh-CN" sz="1200" b="0" i="0" cap="none" baseline="0" dirty="0">
                    <a:effectLst/>
                  </a:rPr>
                  <a:t>Calendar Weeks</a:t>
                </a:r>
                <a:endParaRPr lang="zh-CN" altLang="zh-CN" sz="1200" cap="none" baseline="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56193664"/>
        <c:crosses val="autoZero"/>
        <c:auto val="1"/>
        <c:lblAlgn val="ctr"/>
        <c:lblOffset val="100"/>
        <c:noMultiLvlLbl val="0"/>
      </c:catAx>
      <c:valAx>
        <c:axId val="256193664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56179200"/>
        <c:crosses val="autoZero"/>
        <c:crossBetween val="between"/>
      </c:valAx>
      <c:catAx>
        <c:axId val="25620556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56195584"/>
        <c:crosses val="autoZero"/>
        <c:auto val="1"/>
        <c:lblAlgn val="ctr"/>
        <c:lblOffset val="100"/>
        <c:noMultiLvlLbl val="0"/>
      </c:catAx>
      <c:valAx>
        <c:axId val="256195584"/>
        <c:scaling>
          <c:orientation val="minMax"/>
        </c:scaling>
        <c:delete val="0"/>
        <c:axPos val="r"/>
        <c:numFmt formatCode="0.0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56205568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rgbClr val="8C8C8C"/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rPr>
              <a:t>Average Weekly User Activities </a:t>
            </a:r>
            <a:endParaRPr lang="en-US" sz="1800" dirty="0">
              <a:latin typeface="+mn-lt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8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0.13270544527004499"/>
          <c:y val="0.13109854450011901"/>
          <c:w val="0.79008206720638796"/>
          <c:h val="0.5608806967310899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iscover More</c:v>
                </c:pt>
              </c:strCache>
            </c:strRef>
          </c:tx>
          <c:spPr>
            <a:solidFill>
              <a:srgbClr val="C6C6C6"/>
            </a:solidFill>
            <a:ln>
              <a:solidFill>
                <a:srgbClr val="C6C6C6"/>
              </a:solidFill>
            </a:ln>
            <a:effectLst/>
          </c:spPr>
          <c:invertIfNegative val="0"/>
          <c:cat>
            <c:strRef>
              <c:f>Sheet1!$A$2:$A$41</c:f>
              <c:strCache>
                <c:ptCount val="4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</c:strCache>
            </c:strRef>
          </c:cat>
          <c:val>
            <c:numRef>
              <c:f>Sheet1!$B$2:$B$41</c:f>
              <c:numCache>
                <c:formatCode>General</c:formatCode>
                <c:ptCount val="40"/>
                <c:pt idx="0">
                  <c:v>1</c:v>
                </c:pt>
                <c:pt idx="1">
                  <c:v>17</c:v>
                </c:pt>
                <c:pt idx="2">
                  <c:v>31</c:v>
                </c:pt>
                <c:pt idx="3">
                  <c:v>22</c:v>
                </c:pt>
                <c:pt idx="4">
                  <c:v>31</c:v>
                </c:pt>
                <c:pt idx="5">
                  <c:v>6</c:v>
                </c:pt>
                <c:pt idx="6">
                  <c:v>10</c:v>
                </c:pt>
                <c:pt idx="7">
                  <c:v>4</c:v>
                </c:pt>
                <c:pt idx="8">
                  <c:v>8</c:v>
                </c:pt>
                <c:pt idx="9">
                  <c:v>46</c:v>
                </c:pt>
                <c:pt idx="10">
                  <c:v>10</c:v>
                </c:pt>
                <c:pt idx="11">
                  <c:v>9</c:v>
                </c:pt>
                <c:pt idx="12">
                  <c:v>11</c:v>
                </c:pt>
                <c:pt idx="13">
                  <c:v>5</c:v>
                </c:pt>
                <c:pt idx="14">
                  <c:v>4</c:v>
                </c:pt>
                <c:pt idx="15">
                  <c:v>3</c:v>
                </c:pt>
                <c:pt idx="16">
                  <c:v>2</c:v>
                </c:pt>
                <c:pt idx="17">
                  <c:v>2</c:v>
                </c:pt>
                <c:pt idx="18">
                  <c:v>1</c:v>
                </c:pt>
                <c:pt idx="19">
                  <c:v>8</c:v>
                </c:pt>
                <c:pt idx="20">
                  <c:v>7</c:v>
                </c:pt>
                <c:pt idx="21">
                  <c:v>6</c:v>
                </c:pt>
                <c:pt idx="22">
                  <c:v>8</c:v>
                </c:pt>
                <c:pt idx="23">
                  <c:v>5</c:v>
                </c:pt>
                <c:pt idx="24">
                  <c:v>3</c:v>
                </c:pt>
                <c:pt idx="25">
                  <c:v>6</c:v>
                </c:pt>
                <c:pt idx="26">
                  <c:v>2</c:v>
                </c:pt>
                <c:pt idx="27">
                  <c:v>4</c:v>
                </c:pt>
                <c:pt idx="28">
                  <c:v>6</c:v>
                </c:pt>
                <c:pt idx="29">
                  <c:v>3</c:v>
                </c:pt>
                <c:pt idx="30">
                  <c:v>4</c:v>
                </c:pt>
                <c:pt idx="31">
                  <c:v>4</c:v>
                </c:pt>
                <c:pt idx="32">
                  <c:v>8</c:v>
                </c:pt>
                <c:pt idx="33">
                  <c:v>2</c:v>
                </c:pt>
                <c:pt idx="34">
                  <c:v>5</c:v>
                </c:pt>
                <c:pt idx="35">
                  <c:v>0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39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65B-4251-8048-EC674C7F87B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ntact</c:v>
                </c:pt>
              </c:strCache>
            </c:strRef>
          </c:tx>
          <c:spPr>
            <a:solidFill>
              <a:srgbClr val="575757"/>
            </a:solidFill>
            <a:ln>
              <a:solidFill>
                <a:srgbClr val="575757"/>
              </a:solidFill>
            </a:ln>
            <a:effectLst/>
          </c:spPr>
          <c:invertIfNegative val="0"/>
          <c:cat>
            <c:strRef>
              <c:f>Sheet1!$A$2:$A$41</c:f>
              <c:strCache>
                <c:ptCount val="4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</c:strCache>
            </c:strRef>
          </c:cat>
          <c:val>
            <c:numRef>
              <c:f>Sheet1!$C$2:$C$41</c:f>
              <c:numCache>
                <c:formatCode>General</c:formatCode>
                <c:ptCount val="40"/>
                <c:pt idx="0">
                  <c:v>2</c:v>
                </c:pt>
                <c:pt idx="1">
                  <c:v>10</c:v>
                </c:pt>
                <c:pt idx="2">
                  <c:v>2</c:v>
                </c:pt>
                <c:pt idx="3">
                  <c:v>4</c:v>
                </c:pt>
                <c:pt idx="4">
                  <c:v>9</c:v>
                </c:pt>
                <c:pt idx="5">
                  <c:v>7</c:v>
                </c:pt>
                <c:pt idx="6">
                  <c:v>41</c:v>
                </c:pt>
                <c:pt idx="7">
                  <c:v>6</c:v>
                </c:pt>
                <c:pt idx="8">
                  <c:v>1</c:v>
                </c:pt>
                <c:pt idx="9">
                  <c:v>7</c:v>
                </c:pt>
                <c:pt idx="10">
                  <c:v>1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2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0</c:v>
                </c:pt>
                <c:pt idx="28">
                  <c:v>0</c:v>
                </c:pt>
                <c:pt idx="29">
                  <c:v>1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1</c:v>
                </c:pt>
                <c:pt idx="35">
                  <c:v>1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65B-4251-8048-EC674C7F87B4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Request Test Drive</c:v>
                </c:pt>
              </c:strCache>
            </c:strRef>
          </c:tx>
          <c:spPr>
            <a:solidFill>
              <a:srgbClr val="BB0A30"/>
            </a:solidFill>
            <a:ln>
              <a:solidFill>
                <a:srgbClr val="BB0A30"/>
              </a:solidFill>
            </a:ln>
            <a:effectLst/>
          </c:spPr>
          <c:invertIfNegative val="0"/>
          <c:cat>
            <c:strRef>
              <c:f>Sheet1!$A$2:$A$41</c:f>
              <c:strCache>
                <c:ptCount val="4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</c:strCache>
            </c:strRef>
          </c:cat>
          <c:val>
            <c:numRef>
              <c:f>Sheet1!$D$2:$D$41</c:f>
              <c:numCache>
                <c:formatCode>General</c:formatCode>
                <c:ptCount val="40"/>
                <c:pt idx="0">
                  <c:v>1</c:v>
                </c:pt>
                <c:pt idx="1">
                  <c:v>12</c:v>
                </c:pt>
                <c:pt idx="2">
                  <c:v>2</c:v>
                </c:pt>
                <c:pt idx="3">
                  <c:v>7</c:v>
                </c:pt>
                <c:pt idx="4">
                  <c:v>5</c:v>
                </c:pt>
                <c:pt idx="5">
                  <c:v>10</c:v>
                </c:pt>
                <c:pt idx="6">
                  <c:v>13</c:v>
                </c:pt>
                <c:pt idx="7">
                  <c:v>8</c:v>
                </c:pt>
                <c:pt idx="8">
                  <c:v>1</c:v>
                </c:pt>
                <c:pt idx="9">
                  <c:v>25</c:v>
                </c:pt>
                <c:pt idx="10">
                  <c:v>2</c:v>
                </c:pt>
                <c:pt idx="11">
                  <c:v>0</c:v>
                </c:pt>
                <c:pt idx="12">
                  <c:v>1</c:v>
                </c:pt>
                <c:pt idx="13">
                  <c:v>1</c:v>
                </c:pt>
                <c:pt idx="14">
                  <c:v>0</c:v>
                </c:pt>
                <c:pt idx="15">
                  <c:v>0</c:v>
                </c:pt>
                <c:pt idx="16">
                  <c:v>1</c:v>
                </c:pt>
                <c:pt idx="17">
                  <c:v>0</c:v>
                </c:pt>
                <c:pt idx="18">
                  <c:v>0</c:v>
                </c:pt>
                <c:pt idx="19">
                  <c:v>4</c:v>
                </c:pt>
                <c:pt idx="20">
                  <c:v>2</c:v>
                </c:pt>
                <c:pt idx="21">
                  <c:v>0</c:v>
                </c:pt>
                <c:pt idx="22">
                  <c:v>5</c:v>
                </c:pt>
                <c:pt idx="23">
                  <c:v>1</c:v>
                </c:pt>
                <c:pt idx="24">
                  <c:v>2</c:v>
                </c:pt>
                <c:pt idx="25">
                  <c:v>1</c:v>
                </c:pt>
                <c:pt idx="26">
                  <c:v>2</c:v>
                </c:pt>
                <c:pt idx="27">
                  <c:v>1</c:v>
                </c:pt>
                <c:pt idx="28">
                  <c:v>1</c:v>
                </c:pt>
                <c:pt idx="29">
                  <c:v>2</c:v>
                </c:pt>
                <c:pt idx="30">
                  <c:v>1</c:v>
                </c:pt>
                <c:pt idx="31">
                  <c:v>0</c:v>
                </c:pt>
                <c:pt idx="32">
                  <c:v>1</c:v>
                </c:pt>
                <c:pt idx="33">
                  <c:v>1</c:v>
                </c:pt>
                <c:pt idx="34">
                  <c:v>3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65B-4251-8048-EC674C7F87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256557056"/>
        <c:axId val="256560512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Average Weekly User Activitie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1</c:f>
              <c:strCache>
                <c:ptCount val="4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</c:strCache>
            </c:strRef>
          </c:cat>
          <c:val>
            <c:numRef>
              <c:f>Sheet1!$E$2:$E$41</c:f>
              <c:numCache>
                <c:formatCode>0</c:formatCode>
                <c:ptCount val="40"/>
                <c:pt idx="0">
                  <c:v>4</c:v>
                </c:pt>
                <c:pt idx="1">
                  <c:v>21.5</c:v>
                </c:pt>
                <c:pt idx="2">
                  <c:v>26</c:v>
                </c:pt>
                <c:pt idx="3">
                  <c:v>27.75</c:v>
                </c:pt>
                <c:pt idx="4">
                  <c:v>31.2</c:v>
                </c:pt>
                <c:pt idx="5">
                  <c:v>29.833333333333332</c:v>
                </c:pt>
                <c:pt idx="6">
                  <c:v>34.714285714285715</c:v>
                </c:pt>
                <c:pt idx="7">
                  <c:v>32.625</c:v>
                </c:pt>
                <c:pt idx="8">
                  <c:v>30.111111111111111</c:v>
                </c:pt>
                <c:pt idx="9">
                  <c:v>34.9</c:v>
                </c:pt>
                <c:pt idx="10">
                  <c:v>32.909090909090907</c:v>
                </c:pt>
                <c:pt idx="11">
                  <c:v>30.916666666666668</c:v>
                </c:pt>
                <c:pt idx="12">
                  <c:v>29.46153846153846</c:v>
                </c:pt>
                <c:pt idx="13">
                  <c:v>27.785714285714285</c:v>
                </c:pt>
                <c:pt idx="14">
                  <c:v>26.2</c:v>
                </c:pt>
                <c:pt idx="15">
                  <c:v>24.75</c:v>
                </c:pt>
                <c:pt idx="16">
                  <c:v>23.470588235294116</c:v>
                </c:pt>
                <c:pt idx="17">
                  <c:v>22.277777777777779</c:v>
                </c:pt>
                <c:pt idx="18">
                  <c:v>21.157894736842106</c:v>
                </c:pt>
                <c:pt idx="19">
                  <c:v>20.7</c:v>
                </c:pt>
                <c:pt idx="20">
                  <c:v>20.238095238095237</c:v>
                </c:pt>
                <c:pt idx="21">
                  <c:v>19.59090909090909</c:v>
                </c:pt>
                <c:pt idx="22">
                  <c:v>19.304347826086957</c:v>
                </c:pt>
                <c:pt idx="23">
                  <c:v>18.75</c:v>
                </c:pt>
                <c:pt idx="24">
                  <c:v>18.239999999999998</c:v>
                </c:pt>
                <c:pt idx="25">
                  <c:v>17.846153846153847</c:v>
                </c:pt>
                <c:pt idx="26">
                  <c:v>17.37037037037037</c:v>
                </c:pt>
                <c:pt idx="27">
                  <c:v>16.928571428571427</c:v>
                </c:pt>
                <c:pt idx="28">
                  <c:v>16.586206896551722</c:v>
                </c:pt>
                <c:pt idx="29">
                  <c:v>16.233333333333334</c:v>
                </c:pt>
                <c:pt idx="30">
                  <c:v>15.870967741935484</c:v>
                </c:pt>
                <c:pt idx="31">
                  <c:v>15.5</c:v>
                </c:pt>
                <c:pt idx="32">
                  <c:v>15.303030303030303</c:v>
                </c:pt>
                <c:pt idx="33">
                  <c:v>14.941176470588236</c:v>
                </c:pt>
                <c:pt idx="34">
                  <c:v>14.771428571428572</c:v>
                </c:pt>
                <c:pt idx="35">
                  <c:v>14.388888888888889</c:v>
                </c:pt>
                <c:pt idx="36">
                  <c:v>14.027027027027026</c:v>
                </c:pt>
                <c:pt idx="37">
                  <c:v>13.684210526315789</c:v>
                </c:pt>
                <c:pt idx="38">
                  <c:v>13.358974358974359</c:v>
                </c:pt>
                <c:pt idx="39">
                  <c:v>13.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65B-4251-8048-EC674C7F87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0727552"/>
        <c:axId val="260716032"/>
      </c:lineChart>
      <c:dateAx>
        <c:axId val="256557056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>
            <c:manualLayout>
              <c:xMode val="edge"/>
              <c:yMode val="edge"/>
              <c:x val="0.35273464936601201"/>
              <c:y val="0.76068002863278406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0" vertOverflow="ellipsis" vert="horz" wrap="square" anchor="ctr" anchorCtr="1" forceAA="0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56560512"/>
        <c:crosses val="autoZero"/>
        <c:auto val="0"/>
        <c:lblOffset val="100"/>
        <c:baseTimeUnit val="days"/>
      </c:dateAx>
      <c:valAx>
        <c:axId val="2565605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1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56557056"/>
        <c:crosses val="autoZero"/>
        <c:crossBetween val="between"/>
      </c:valAx>
      <c:catAx>
        <c:axId val="26072755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60716032"/>
        <c:crosses val="autoZero"/>
        <c:auto val="1"/>
        <c:lblAlgn val="ctr"/>
        <c:lblOffset val="100"/>
        <c:noMultiLvlLbl val="0"/>
      </c:catAx>
      <c:valAx>
        <c:axId val="260716032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60727552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81716487711763297"/>
          <c:w val="1"/>
          <c:h val="0.1646533047005490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b="0" i="0" baseline="0" dirty="0">
                <a:effectLst/>
                <a:latin typeface="+mn-lt"/>
              </a:rPr>
              <a:t>Average Daily User Activities</a:t>
            </a:r>
            <a:endParaRPr lang="zh-CN" altLang="zh-CN" sz="2000" dirty="0">
              <a:effectLst/>
              <a:latin typeface="+mn-lt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8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Average Daily  Discover More 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41</c:f>
              <c:strCache>
                <c:ptCount val="4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</c:strCache>
            </c:strRef>
          </c:cat>
          <c:val>
            <c:numRef>
              <c:f>Sheet1!$E$2:$E$41</c:f>
              <c:numCache>
                <c:formatCode>0.0</c:formatCode>
                <c:ptCount val="40"/>
                <c:pt idx="0">
                  <c:v>0.5</c:v>
                </c:pt>
                <c:pt idx="1">
                  <c:v>2.4285714285714284</c:v>
                </c:pt>
                <c:pt idx="2">
                  <c:v>4.4285714285714288</c:v>
                </c:pt>
                <c:pt idx="3">
                  <c:v>3.1428571428571428</c:v>
                </c:pt>
                <c:pt idx="4">
                  <c:v>4.4285714285714288</c:v>
                </c:pt>
                <c:pt idx="5">
                  <c:v>0.8571428571428571</c:v>
                </c:pt>
                <c:pt idx="6">
                  <c:v>1.4285714285714286</c:v>
                </c:pt>
                <c:pt idx="7">
                  <c:v>0.5714285714285714</c:v>
                </c:pt>
                <c:pt idx="8">
                  <c:v>1.1428571428571428</c:v>
                </c:pt>
                <c:pt idx="9">
                  <c:v>6.5714285714285712</c:v>
                </c:pt>
                <c:pt idx="10">
                  <c:v>1.4285714285714286</c:v>
                </c:pt>
                <c:pt idx="11">
                  <c:v>1.2857142857142858</c:v>
                </c:pt>
                <c:pt idx="12">
                  <c:v>1.5714285714285714</c:v>
                </c:pt>
                <c:pt idx="13">
                  <c:v>0.7142857142857143</c:v>
                </c:pt>
                <c:pt idx="14">
                  <c:v>0.5714285714285714</c:v>
                </c:pt>
                <c:pt idx="15">
                  <c:v>0.42857142857142855</c:v>
                </c:pt>
                <c:pt idx="16">
                  <c:v>0.2857142857142857</c:v>
                </c:pt>
                <c:pt idx="17">
                  <c:v>0.2857142857142857</c:v>
                </c:pt>
                <c:pt idx="18">
                  <c:v>0.14285714285714285</c:v>
                </c:pt>
                <c:pt idx="19">
                  <c:v>1.1428571428571428</c:v>
                </c:pt>
                <c:pt idx="20">
                  <c:v>1</c:v>
                </c:pt>
                <c:pt idx="21">
                  <c:v>0.8571428571428571</c:v>
                </c:pt>
                <c:pt idx="22">
                  <c:v>1.1428571428571428</c:v>
                </c:pt>
                <c:pt idx="23">
                  <c:v>0.7142857142857143</c:v>
                </c:pt>
                <c:pt idx="24">
                  <c:v>0.42857142857142855</c:v>
                </c:pt>
                <c:pt idx="25">
                  <c:v>0.8571428571428571</c:v>
                </c:pt>
                <c:pt idx="26">
                  <c:v>0.2857142857142857</c:v>
                </c:pt>
                <c:pt idx="27">
                  <c:v>0.5714285714285714</c:v>
                </c:pt>
                <c:pt idx="28">
                  <c:v>0.8571428571428571</c:v>
                </c:pt>
                <c:pt idx="29">
                  <c:v>0.42857142857142855</c:v>
                </c:pt>
                <c:pt idx="30">
                  <c:v>0.5714285714285714</c:v>
                </c:pt>
                <c:pt idx="31">
                  <c:v>0.5714285714285714</c:v>
                </c:pt>
                <c:pt idx="32">
                  <c:v>1.1428571428571428</c:v>
                </c:pt>
                <c:pt idx="33">
                  <c:v>0.2857142857142857</c:v>
                </c:pt>
                <c:pt idx="34">
                  <c:v>0.7142857142857143</c:v>
                </c:pt>
                <c:pt idx="35">
                  <c:v>0</c:v>
                </c:pt>
                <c:pt idx="36">
                  <c:v>0.14285714285714285</c:v>
                </c:pt>
                <c:pt idx="37">
                  <c:v>0.14285714285714285</c:v>
                </c:pt>
                <c:pt idx="38">
                  <c:v>0.14285714285714285</c:v>
                </c:pt>
                <c:pt idx="39">
                  <c:v>0.428571428571428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7E0-4838-AA27-1BC4E176B7F4}"/>
            </c:ext>
          </c:extLst>
        </c:ser>
        <c:ser>
          <c:idx val="1"/>
          <c:order val="1"/>
          <c:tx>
            <c:strRef>
              <c:f>Sheet1!$F$1</c:f>
              <c:strCache>
                <c:ptCount val="1"/>
                <c:pt idx="0">
                  <c:v>Average Daily Contact 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Sheet1!$A$2:$A$41</c:f>
              <c:strCache>
                <c:ptCount val="4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</c:strCache>
            </c:strRef>
          </c:cat>
          <c:val>
            <c:numRef>
              <c:f>Sheet1!$F$2:$F$41</c:f>
              <c:numCache>
                <c:formatCode>0.0</c:formatCode>
                <c:ptCount val="40"/>
                <c:pt idx="0">
                  <c:v>1</c:v>
                </c:pt>
                <c:pt idx="1">
                  <c:v>1.4285714285714286</c:v>
                </c:pt>
                <c:pt idx="2">
                  <c:v>0.2857142857142857</c:v>
                </c:pt>
                <c:pt idx="3">
                  <c:v>0.5714285714285714</c:v>
                </c:pt>
                <c:pt idx="4">
                  <c:v>1.2857142857142858</c:v>
                </c:pt>
                <c:pt idx="5">
                  <c:v>1</c:v>
                </c:pt>
                <c:pt idx="6">
                  <c:v>5.8571428571428568</c:v>
                </c:pt>
                <c:pt idx="7">
                  <c:v>0.8571428571428571</c:v>
                </c:pt>
                <c:pt idx="8">
                  <c:v>0.14285714285714285</c:v>
                </c:pt>
                <c:pt idx="9">
                  <c:v>1</c:v>
                </c:pt>
                <c:pt idx="10">
                  <c:v>0.14285714285714285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.2857142857142857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.14285714285714285</c:v>
                </c:pt>
                <c:pt idx="25">
                  <c:v>0.14285714285714285</c:v>
                </c:pt>
                <c:pt idx="26">
                  <c:v>0.14285714285714285</c:v>
                </c:pt>
                <c:pt idx="27">
                  <c:v>0</c:v>
                </c:pt>
                <c:pt idx="28">
                  <c:v>0</c:v>
                </c:pt>
                <c:pt idx="29">
                  <c:v>0.14285714285714285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.14285714285714285</c:v>
                </c:pt>
                <c:pt idx="35">
                  <c:v>0.14285714285714285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7E0-4838-AA27-1BC4E176B7F4}"/>
            </c:ext>
          </c:extLst>
        </c:ser>
        <c:ser>
          <c:idx val="2"/>
          <c:order val="2"/>
          <c:tx>
            <c:strRef>
              <c:f>Sheet1!$G$1</c:f>
              <c:strCache>
                <c:ptCount val="1"/>
                <c:pt idx="0">
                  <c:v>Average Daily Request Test Driv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strRef>
              <c:f>Sheet1!$A$2:$A$41</c:f>
              <c:strCache>
                <c:ptCount val="4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</c:strCache>
            </c:strRef>
          </c:cat>
          <c:val>
            <c:numRef>
              <c:f>Sheet1!$G$2:$G$41</c:f>
              <c:numCache>
                <c:formatCode>0.0</c:formatCode>
                <c:ptCount val="40"/>
                <c:pt idx="0">
                  <c:v>0.5</c:v>
                </c:pt>
                <c:pt idx="1">
                  <c:v>1.7142857142857142</c:v>
                </c:pt>
                <c:pt idx="2">
                  <c:v>0.2857142857142857</c:v>
                </c:pt>
                <c:pt idx="3">
                  <c:v>1</c:v>
                </c:pt>
                <c:pt idx="4">
                  <c:v>0.7142857142857143</c:v>
                </c:pt>
                <c:pt idx="5">
                  <c:v>1.4285714285714286</c:v>
                </c:pt>
                <c:pt idx="6">
                  <c:v>1.8571428571428572</c:v>
                </c:pt>
                <c:pt idx="7">
                  <c:v>1.1428571428571428</c:v>
                </c:pt>
                <c:pt idx="8">
                  <c:v>0.14285714285714285</c:v>
                </c:pt>
                <c:pt idx="9">
                  <c:v>3.5714285714285716</c:v>
                </c:pt>
                <c:pt idx="10">
                  <c:v>0.2857142857142857</c:v>
                </c:pt>
                <c:pt idx="11">
                  <c:v>0</c:v>
                </c:pt>
                <c:pt idx="12">
                  <c:v>0.14285714285714285</c:v>
                </c:pt>
                <c:pt idx="13">
                  <c:v>0.14285714285714285</c:v>
                </c:pt>
                <c:pt idx="14">
                  <c:v>0</c:v>
                </c:pt>
                <c:pt idx="15">
                  <c:v>0</c:v>
                </c:pt>
                <c:pt idx="16">
                  <c:v>0.14285714285714285</c:v>
                </c:pt>
                <c:pt idx="17">
                  <c:v>0</c:v>
                </c:pt>
                <c:pt idx="18">
                  <c:v>0</c:v>
                </c:pt>
                <c:pt idx="19">
                  <c:v>0.5714285714285714</c:v>
                </c:pt>
                <c:pt idx="20">
                  <c:v>0.2857142857142857</c:v>
                </c:pt>
                <c:pt idx="21">
                  <c:v>0</c:v>
                </c:pt>
                <c:pt idx="22">
                  <c:v>0.7142857142857143</c:v>
                </c:pt>
                <c:pt idx="23">
                  <c:v>0.14285714285714285</c:v>
                </c:pt>
                <c:pt idx="24">
                  <c:v>0.2857142857142857</c:v>
                </c:pt>
                <c:pt idx="25">
                  <c:v>0.14285714285714285</c:v>
                </c:pt>
                <c:pt idx="26">
                  <c:v>0.2857142857142857</c:v>
                </c:pt>
                <c:pt idx="27">
                  <c:v>0.14285714285714285</c:v>
                </c:pt>
                <c:pt idx="28">
                  <c:v>0.14285714285714285</c:v>
                </c:pt>
                <c:pt idx="29">
                  <c:v>0.2857142857142857</c:v>
                </c:pt>
                <c:pt idx="30">
                  <c:v>0.14285714285714285</c:v>
                </c:pt>
                <c:pt idx="31">
                  <c:v>0</c:v>
                </c:pt>
                <c:pt idx="32">
                  <c:v>0.14285714285714285</c:v>
                </c:pt>
                <c:pt idx="33">
                  <c:v>0.14285714285714285</c:v>
                </c:pt>
                <c:pt idx="34">
                  <c:v>0.42857142857142855</c:v>
                </c:pt>
                <c:pt idx="35">
                  <c:v>0.14285714285714285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7E0-4838-AA27-1BC4E176B7F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261423104"/>
        <c:axId val="261425024"/>
      </c:barChart>
      <c:lineChart>
        <c:grouping val="standard"/>
        <c:varyColors val="0"/>
        <c:ser>
          <c:idx val="3"/>
          <c:order val="3"/>
          <c:tx>
            <c:strRef>
              <c:f>Sheet1!$H$1</c:f>
              <c:strCache>
                <c:ptCount val="1"/>
                <c:pt idx="0">
                  <c:v>Average Daily User Activitie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1</c:f>
              <c:strCache>
                <c:ptCount val="4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</c:strCache>
            </c:strRef>
          </c:cat>
          <c:val>
            <c:numRef>
              <c:f>Sheet1!$H$2:$H$41</c:f>
              <c:numCache>
                <c:formatCode>0</c:formatCode>
                <c:ptCount val="40"/>
                <c:pt idx="0">
                  <c:v>2</c:v>
                </c:pt>
                <c:pt idx="1">
                  <c:v>5.5714285714285712</c:v>
                </c:pt>
                <c:pt idx="2">
                  <c:v>5</c:v>
                </c:pt>
                <c:pt idx="3">
                  <c:v>4.7142857142857144</c:v>
                </c:pt>
                <c:pt idx="4">
                  <c:v>6.4285714285714288</c:v>
                </c:pt>
                <c:pt idx="5">
                  <c:v>3.2857142857142856</c:v>
                </c:pt>
                <c:pt idx="6">
                  <c:v>9.1428571428571423</c:v>
                </c:pt>
                <c:pt idx="7">
                  <c:v>2.5714285714285712</c:v>
                </c:pt>
                <c:pt idx="8">
                  <c:v>1.4285714285714284</c:v>
                </c:pt>
                <c:pt idx="9">
                  <c:v>11.142857142857142</c:v>
                </c:pt>
                <c:pt idx="10">
                  <c:v>1.8571428571428572</c:v>
                </c:pt>
                <c:pt idx="11">
                  <c:v>1.2857142857142858</c:v>
                </c:pt>
                <c:pt idx="12">
                  <c:v>1.7142857142857142</c:v>
                </c:pt>
                <c:pt idx="13">
                  <c:v>0.85714285714285721</c:v>
                </c:pt>
                <c:pt idx="14">
                  <c:v>0.5714285714285714</c:v>
                </c:pt>
                <c:pt idx="15">
                  <c:v>0.42857142857142855</c:v>
                </c:pt>
                <c:pt idx="16">
                  <c:v>0.42857142857142855</c:v>
                </c:pt>
                <c:pt idx="17">
                  <c:v>0.2857142857142857</c:v>
                </c:pt>
                <c:pt idx="18">
                  <c:v>0.14285714285714285</c:v>
                </c:pt>
                <c:pt idx="19">
                  <c:v>1.7142857142857142</c:v>
                </c:pt>
                <c:pt idx="20">
                  <c:v>1.5714285714285712</c:v>
                </c:pt>
                <c:pt idx="21">
                  <c:v>0.8571428571428571</c:v>
                </c:pt>
                <c:pt idx="22">
                  <c:v>1.8571428571428572</c:v>
                </c:pt>
                <c:pt idx="23">
                  <c:v>0.85714285714285721</c:v>
                </c:pt>
                <c:pt idx="24">
                  <c:v>0.8571428571428571</c:v>
                </c:pt>
                <c:pt idx="25">
                  <c:v>1.1428571428571428</c:v>
                </c:pt>
                <c:pt idx="26">
                  <c:v>0.71428571428571419</c:v>
                </c:pt>
                <c:pt idx="27">
                  <c:v>0.71428571428571419</c:v>
                </c:pt>
                <c:pt idx="28">
                  <c:v>1</c:v>
                </c:pt>
                <c:pt idx="29">
                  <c:v>0.8571428571428571</c:v>
                </c:pt>
                <c:pt idx="30">
                  <c:v>0.71428571428571419</c:v>
                </c:pt>
                <c:pt idx="31">
                  <c:v>0.5714285714285714</c:v>
                </c:pt>
                <c:pt idx="32">
                  <c:v>1.2857142857142856</c:v>
                </c:pt>
                <c:pt idx="33">
                  <c:v>0.42857142857142855</c:v>
                </c:pt>
                <c:pt idx="34">
                  <c:v>1.2857142857142858</c:v>
                </c:pt>
                <c:pt idx="35">
                  <c:v>0.2857142857142857</c:v>
                </c:pt>
                <c:pt idx="36">
                  <c:v>0.14285714285714285</c:v>
                </c:pt>
                <c:pt idx="37">
                  <c:v>0.14285714285714285</c:v>
                </c:pt>
                <c:pt idx="38">
                  <c:v>0.14285714285714285</c:v>
                </c:pt>
                <c:pt idx="39">
                  <c:v>0.428571428571428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7E0-4838-AA27-1BC4E176B7F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1469696"/>
        <c:axId val="261468160"/>
      </c:lineChart>
      <c:dateAx>
        <c:axId val="261423104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 Calendar Week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0" vertOverflow="ellipsis" vert="horz" wrap="square" anchor="ctr" anchorCtr="1" forceAA="0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61425024"/>
        <c:crosses val="autoZero"/>
        <c:auto val="0"/>
        <c:lblOffset val="100"/>
        <c:baseTimeUnit val="days"/>
      </c:dateAx>
      <c:valAx>
        <c:axId val="2614250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61423104"/>
        <c:crosses val="autoZero"/>
        <c:crossBetween val="between"/>
      </c:valAx>
      <c:catAx>
        <c:axId val="26146969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61468160"/>
        <c:crosses val="autoZero"/>
        <c:auto val="1"/>
        <c:lblAlgn val="ctr"/>
        <c:lblOffset val="100"/>
        <c:noMultiLvlLbl val="0"/>
      </c:catAx>
      <c:valAx>
        <c:axId val="261468160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6146969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05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baseline="0" dirty="0">
                <a:solidFill>
                  <a:schemeClr val="bg1">
                    <a:lumMod val="50000"/>
                  </a:schemeClr>
                </a:solidFill>
                <a:effectLst/>
              </a:rPr>
              <a:t>Monthly User Activities</a:t>
            </a:r>
            <a:endParaRPr lang="zh-CN" altLang="zh-CN" sz="1800" b="0" i="0" u="none" strike="noStrike" kern="1200" spc="0" baseline="0" dirty="0">
              <a:solidFill>
                <a:schemeClr val="bg1">
                  <a:lumMod val="50000"/>
                </a:schemeClr>
              </a:solidFill>
              <a:effectLst/>
              <a:latin typeface="+mn-lt"/>
              <a:ea typeface="+mn-ea"/>
              <a:cs typeface="+mn-cs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860" b="0" i="0" u="none" strike="noStrike" kern="1200" spc="0" baseline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iscover Mor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57</c:v>
                </c:pt>
                <c:pt idx="1">
                  <c:v>65</c:v>
                </c:pt>
                <c:pt idx="2">
                  <c:v>73</c:v>
                </c:pt>
                <c:pt idx="3">
                  <c:v>25</c:v>
                </c:pt>
                <c:pt idx="4">
                  <c:v>17</c:v>
                </c:pt>
                <c:pt idx="5">
                  <c:v>23</c:v>
                </c:pt>
                <c:pt idx="6">
                  <c:v>18</c:v>
                </c:pt>
                <c:pt idx="7">
                  <c:v>20</c:v>
                </c:pt>
                <c:pt idx="8">
                  <c:v>7</c:v>
                </c:pt>
                <c:pt idx="9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768-4DDD-B1F9-9BE7E623E15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ntact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768-4DDD-B1F9-9BE7E623E15E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DB0CA9D6-39AC-4F8E-AEEA-D602F4E66440}" type="VALUE">
                      <a:rPr lang="en-US" altLang="zh-CN">
                        <a:solidFill>
                          <a:schemeClr val="tx1"/>
                        </a:solidFill>
                      </a:rPr>
                      <a:pPr/>
                      <a:t>[值]</a:t>
                    </a:fld>
                    <a:endParaRPr lang="zh-CN" alt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19B0-4E3A-8083-76B70F323D61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443CBCA2-C947-4E9F-8D45-5298CA134CC5}" type="VALUE">
                      <a:rPr lang="en-US" altLang="zh-CN">
                        <a:solidFill>
                          <a:schemeClr val="tx1"/>
                        </a:solidFill>
                      </a:rPr>
                      <a:pPr/>
                      <a:t>[值]</a:t>
                    </a:fld>
                    <a:endParaRPr lang="zh-CN" alt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19B0-4E3A-8083-76B70F323D6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C$2:$C$11</c:f>
              <c:numCache>
                <c:formatCode>General</c:formatCode>
                <c:ptCount val="10"/>
                <c:pt idx="0">
                  <c:v>15</c:v>
                </c:pt>
                <c:pt idx="1">
                  <c:v>65</c:v>
                </c:pt>
                <c:pt idx="2">
                  <c:v>10</c:v>
                </c:pt>
                <c:pt idx="3">
                  <c:v>0</c:v>
                </c:pt>
                <c:pt idx="4">
                  <c:v>2</c:v>
                </c:pt>
                <c:pt idx="5">
                  <c:v>1</c:v>
                </c:pt>
                <c:pt idx="6">
                  <c:v>2</c:v>
                </c:pt>
                <c:pt idx="7">
                  <c:v>1</c:v>
                </c:pt>
                <c:pt idx="8">
                  <c:v>2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768-4DDD-B1F9-9BE7E623E15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Request Test Driv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3"/>
              <c:tx>
                <c:rich>
                  <a:bodyPr/>
                  <a:lstStyle/>
                  <a:p>
                    <a:fld id="{87A68093-45A6-4F7C-B4AA-A89625285ABC}" type="VALUE">
                      <a:rPr lang="en-US" altLang="zh-CN">
                        <a:solidFill>
                          <a:schemeClr val="tx1"/>
                        </a:solidFill>
                      </a:rPr>
                      <a:pPr/>
                      <a:t>[值]</a:t>
                    </a:fld>
                    <a:endParaRPr lang="zh-CN" alt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19B0-4E3A-8083-76B70F323D61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C38B3C2E-7319-4B01-90FA-48723D578359}" type="VALUE">
                      <a:rPr lang="en-US" altLang="zh-CN">
                        <a:solidFill>
                          <a:schemeClr val="tx1"/>
                        </a:solidFill>
                      </a:rPr>
                      <a:pPr/>
                      <a:t>[值]</a:t>
                    </a:fld>
                    <a:endParaRPr lang="zh-CN" alt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19B0-4E3A-8083-76B70F323D6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D$2:$D$11</c:f>
              <c:numCache>
                <c:formatCode>General</c:formatCode>
                <c:ptCount val="10"/>
                <c:pt idx="0">
                  <c:v>16</c:v>
                </c:pt>
                <c:pt idx="1">
                  <c:v>40</c:v>
                </c:pt>
                <c:pt idx="2">
                  <c:v>30</c:v>
                </c:pt>
                <c:pt idx="3">
                  <c:v>2</c:v>
                </c:pt>
                <c:pt idx="4">
                  <c:v>7</c:v>
                </c:pt>
                <c:pt idx="5">
                  <c:v>8</c:v>
                </c:pt>
                <c:pt idx="6">
                  <c:v>7</c:v>
                </c:pt>
                <c:pt idx="7">
                  <c:v>3</c:v>
                </c:pt>
                <c:pt idx="8">
                  <c:v>4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768-4DDD-B1F9-9BE7E623E15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205595008"/>
        <c:axId val="205617408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E$2:$E$11</c:f>
              <c:numCache>
                <c:formatCode>0%</c:formatCode>
                <c:ptCount val="10"/>
                <c:pt idx="0" formatCode="General">
                  <c:v>#N/A</c:v>
                </c:pt>
                <c:pt idx="1">
                  <c:v>1.9318181818181819</c:v>
                </c:pt>
                <c:pt idx="2">
                  <c:v>0.43798449612403101</c:v>
                </c:pt>
                <c:pt idx="3">
                  <c:v>7.277628032345014E-2</c:v>
                </c:pt>
                <c:pt idx="4">
                  <c:v>6.5326633165829151E-2</c:v>
                </c:pt>
                <c:pt idx="5">
                  <c:v>7.5471698113207544E-2</c:v>
                </c:pt>
                <c:pt idx="6">
                  <c:v>5.921052631578947E-2</c:v>
                </c:pt>
                <c:pt idx="7">
                  <c:v>4.9689440993788817E-2</c:v>
                </c:pt>
                <c:pt idx="8">
                  <c:v>2.564102564102564E-2</c:v>
                </c:pt>
                <c:pt idx="9">
                  <c:v>7.6923076923076927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9768-4DDD-B1F9-9BE7E623E15E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rgbClr val="898989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898989"/>
              </a:solidFill>
              <a:ln w="9525">
                <a:solidFill>
                  <a:srgbClr val="898989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F$2:$F$11</c:f>
              <c:numCache>
                <c:formatCode>0%</c:formatCode>
                <c:ptCount val="10"/>
                <c:pt idx="0" formatCode="General">
                  <c:v>#N/A</c:v>
                </c:pt>
                <c:pt idx="1">
                  <c:v>0.93181818181818177</c:v>
                </c:pt>
                <c:pt idx="2">
                  <c:v>-0.3352941176470588</c:v>
                </c:pt>
                <c:pt idx="3">
                  <c:v>-0.76106194690265483</c:v>
                </c:pt>
                <c:pt idx="4">
                  <c:v>-3.7037037037037035E-2</c:v>
                </c:pt>
                <c:pt idx="5">
                  <c:v>0.23076923076923078</c:v>
                </c:pt>
                <c:pt idx="6">
                  <c:v>-0.15625</c:v>
                </c:pt>
                <c:pt idx="7">
                  <c:v>-0.1111111111111111</c:v>
                </c:pt>
                <c:pt idx="8">
                  <c:v>-0.45833333333333331</c:v>
                </c:pt>
                <c:pt idx="9">
                  <c:v>-0.692307692307692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9768-4DDD-B1F9-9BE7E623E15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5731712"/>
        <c:axId val="205726080"/>
      </c:lineChart>
      <c:catAx>
        <c:axId val="20559500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>
                    <a:solidFill>
                      <a:schemeClr val="tx1"/>
                    </a:solidFill>
                  </a:rPr>
                  <a:t>Month</a:t>
                </a:r>
                <a:endParaRPr lang="zh-CN" altLang="en-US" sz="1200" dirty="0">
                  <a:solidFill>
                    <a:schemeClr val="tx1"/>
                  </a:solidFill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5617408"/>
        <c:crosses val="autoZero"/>
        <c:auto val="1"/>
        <c:lblAlgn val="ctr"/>
        <c:lblOffset val="100"/>
        <c:noMultiLvlLbl val="0"/>
      </c:catAx>
      <c:valAx>
        <c:axId val="2056174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Amount</a:t>
                </a:r>
                <a:endParaRPr lang="zh-CN" altLang="en-US" sz="12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5595008"/>
        <c:crosses val="autoZero"/>
        <c:crossBetween val="between"/>
      </c:valAx>
      <c:catAx>
        <c:axId val="20573171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05726080"/>
        <c:crosses val="autoZero"/>
        <c:auto val="1"/>
        <c:lblAlgn val="ctr"/>
        <c:lblOffset val="100"/>
        <c:noMultiLvlLbl val="0"/>
      </c:catAx>
      <c:valAx>
        <c:axId val="205726080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5731712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solidFill>
        <a:srgbClr val="8C8C8C"/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none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cap="none" baseline="0" dirty="0">
                <a:effectLst/>
              </a:rPr>
              <a:t>Weekly Downloads</a:t>
            </a:r>
            <a:endParaRPr lang="zh-CN" altLang="zh-CN" cap="none" baseline="0" dirty="0"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2200" b="1" i="0" u="none" strike="noStrike" kern="1200" cap="none" spc="5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solidFill>
                <a:srgbClr val="C6C6C6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1</c:f>
              <c:strCache>
                <c:ptCount val="4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</c:strCache>
            </c:strRef>
          </c:cat>
          <c:val>
            <c:numRef>
              <c:f>Sheet1!$B$2:$B$41</c:f>
              <c:numCache>
                <c:formatCode>General</c:formatCode>
                <c:ptCount val="40"/>
                <c:pt idx="0">
                  <c:v>8</c:v>
                </c:pt>
                <c:pt idx="1">
                  <c:v>46</c:v>
                </c:pt>
                <c:pt idx="2">
                  <c:v>18</c:v>
                </c:pt>
                <c:pt idx="3">
                  <c:v>17</c:v>
                </c:pt>
                <c:pt idx="4">
                  <c:v>19</c:v>
                </c:pt>
                <c:pt idx="5">
                  <c:v>23</c:v>
                </c:pt>
                <c:pt idx="6">
                  <c:v>21</c:v>
                </c:pt>
                <c:pt idx="7">
                  <c:v>14</c:v>
                </c:pt>
                <c:pt idx="8">
                  <c:v>18</c:v>
                </c:pt>
                <c:pt idx="9">
                  <c:v>124</c:v>
                </c:pt>
                <c:pt idx="10">
                  <c:v>13</c:v>
                </c:pt>
                <c:pt idx="11">
                  <c:v>22</c:v>
                </c:pt>
                <c:pt idx="12">
                  <c:v>14</c:v>
                </c:pt>
                <c:pt idx="13">
                  <c:v>17</c:v>
                </c:pt>
                <c:pt idx="14">
                  <c:v>13</c:v>
                </c:pt>
                <c:pt idx="15">
                  <c:v>13</c:v>
                </c:pt>
                <c:pt idx="16">
                  <c:v>8</c:v>
                </c:pt>
                <c:pt idx="17">
                  <c:v>20</c:v>
                </c:pt>
                <c:pt idx="18">
                  <c:v>6</c:v>
                </c:pt>
                <c:pt idx="19">
                  <c:v>19</c:v>
                </c:pt>
                <c:pt idx="20">
                  <c:v>18</c:v>
                </c:pt>
                <c:pt idx="21">
                  <c:v>17</c:v>
                </c:pt>
                <c:pt idx="22">
                  <c:v>18</c:v>
                </c:pt>
                <c:pt idx="23">
                  <c:v>17</c:v>
                </c:pt>
                <c:pt idx="24">
                  <c:v>15</c:v>
                </c:pt>
                <c:pt idx="25">
                  <c:v>12</c:v>
                </c:pt>
                <c:pt idx="26">
                  <c:v>4</c:v>
                </c:pt>
                <c:pt idx="27">
                  <c:v>12</c:v>
                </c:pt>
                <c:pt idx="28">
                  <c:v>12</c:v>
                </c:pt>
                <c:pt idx="29">
                  <c:v>20</c:v>
                </c:pt>
                <c:pt idx="30">
                  <c:v>12</c:v>
                </c:pt>
                <c:pt idx="31">
                  <c:v>17</c:v>
                </c:pt>
                <c:pt idx="32">
                  <c:v>19</c:v>
                </c:pt>
                <c:pt idx="33">
                  <c:v>16</c:v>
                </c:pt>
                <c:pt idx="34">
                  <c:v>22</c:v>
                </c:pt>
                <c:pt idx="35">
                  <c:v>14</c:v>
                </c:pt>
                <c:pt idx="36">
                  <c:v>11</c:v>
                </c:pt>
                <c:pt idx="37">
                  <c:v>5</c:v>
                </c:pt>
                <c:pt idx="38">
                  <c:v>20</c:v>
                </c:pt>
                <c:pt idx="39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8AB-4177-8E9F-A81FB5EB0CF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solidFill>
                <a:srgbClr val="575757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1</c:f>
              <c:strCache>
                <c:ptCount val="4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</c:strCache>
            </c:strRef>
          </c:cat>
          <c:val>
            <c:numRef>
              <c:f>Sheet1!$C$2:$C$41</c:f>
              <c:numCache>
                <c:formatCode>General</c:formatCode>
                <c:ptCount val="40"/>
                <c:pt idx="0">
                  <c:v>0</c:v>
                </c:pt>
                <c:pt idx="1">
                  <c:v>9</c:v>
                </c:pt>
                <c:pt idx="2">
                  <c:v>10</c:v>
                </c:pt>
                <c:pt idx="3">
                  <c:v>5</c:v>
                </c:pt>
                <c:pt idx="4">
                  <c:v>22</c:v>
                </c:pt>
                <c:pt idx="5">
                  <c:v>17</c:v>
                </c:pt>
                <c:pt idx="6">
                  <c:v>6</c:v>
                </c:pt>
                <c:pt idx="7">
                  <c:v>6</c:v>
                </c:pt>
                <c:pt idx="8">
                  <c:v>30</c:v>
                </c:pt>
                <c:pt idx="9">
                  <c:v>30</c:v>
                </c:pt>
                <c:pt idx="10">
                  <c:v>10</c:v>
                </c:pt>
                <c:pt idx="11">
                  <c:v>5</c:v>
                </c:pt>
                <c:pt idx="12">
                  <c:v>5</c:v>
                </c:pt>
                <c:pt idx="13">
                  <c:v>4</c:v>
                </c:pt>
                <c:pt idx="14">
                  <c:v>6</c:v>
                </c:pt>
                <c:pt idx="15">
                  <c:v>2</c:v>
                </c:pt>
                <c:pt idx="16">
                  <c:v>9</c:v>
                </c:pt>
                <c:pt idx="17">
                  <c:v>5</c:v>
                </c:pt>
                <c:pt idx="18">
                  <c:v>3</c:v>
                </c:pt>
                <c:pt idx="19">
                  <c:v>19</c:v>
                </c:pt>
                <c:pt idx="20">
                  <c:v>21</c:v>
                </c:pt>
                <c:pt idx="21">
                  <c:v>7</c:v>
                </c:pt>
                <c:pt idx="22">
                  <c:v>10</c:v>
                </c:pt>
                <c:pt idx="23">
                  <c:v>6</c:v>
                </c:pt>
                <c:pt idx="24">
                  <c:v>13</c:v>
                </c:pt>
                <c:pt idx="25">
                  <c:v>9</c:v>
                </c:pt>
                <c:pt idx="26">
                  <c:v>10</c:v>
                </c:pt>
                <c:pt idx="27">
                  <c:v>2</c:v>
                </c:pt>
                <c:pt idx="28">
                  <c:v>4</c:v>
                </c:pt>
                <c:pt idx="29">
                  <c:v>5</c:v>
                </c:pt>
                <c:pt idx="30">
                  <c:v>6</c:v>
                </c:pt>
                <c:pt idx="31">
                  <c:v>3</c:v>
                </c:pt>
                <c:pt idx="32">
                  <c:v>11</c:v>
                </c:pt>
                <c:pt idx="33">
                  <c:v>4</c:v>
                </c:pt>
                <c:pt idx="34">
                  <c:v>8</c:v>
                </c:pt>
                <c:pt idx="35">
                  <c:v>5</c:v>
                </c:pt>
                <c:pt idx="36">
                  <c:v>3</c:v>
                </c:pt>
                <c:pt idx="37">
                  <c:v>7</c:v>
                </c:pt>
                <c:pt idx="38">
                  <c:v>5</c:v>
                </c:pt>
                <c:pt idx="39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8AB-4177-8E9F-A81FB5EB0CF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aidu(Android)</c:v>
                </c:pt>
              </c:strCache>
            </c:strRef>
          </c:tx>
          <c:spPr>
            <a:solidFill>
              <a:srgbClr val="BB0A30"/>
            </a:solidFill>
            <a:ln>
              <a:solidFill>
                <a:srgbClr val="BB0A30"/>
              </a:solidFill>
            </a:ln>
            <a:effectLst/>
          </c:spPr>
          <c:invertIfNegative val="0"/>
          <c:dLbls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6637-442C-8F0C-59A3094E99E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overflow" horzOverflow="overflow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  <a:noFill/>
                  <a:ln>
                    <a:noFill/>
                  </a:ln>
                </c15:spPr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1</c:f>
              <c:strCache>
                <c:ptCount val="4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</c:strCache>
            </c:strRef>
          </c:cat>
          <c:val>
            <c:numRef>
              <c:f>Sheet1!$D$2:$D$41</c:f>
              <c:numCache>
                <c:formatCode>General</c:formatCode>
                <c:ptCount val="40"/>
                <c:pt idx="0">
                  <c:v>3</c:v>
                </c:pt>
                <c:pt idx="1">
                  <c:v>34</c:v>
                </c:pt>
                <c:pt idx="2">
                  <c:v>1</c:v>
                </c:pt>
                <c:pt idx="3">
                  <c:v>0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2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1</c:v>
                </c:pt>
                <c:pt idx="22">
                  <c:v>1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8AB-4177-8E9F-A81FB5EB0C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1533312"/>
        <c:axId val="201543680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delete val="1"/>
          </c:dLbls>
          <c:cat>
            <c:strRef>
              <c:f>Sheet1!$A$2:$A$41</c:f>
              <c:strCache>
                <c:ptCount val="4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</c:strCache>
            </c:strRef>
          </c:cat>
          <c:val>
            <c:numRef>
              <c:f>Sheet1!$E$2:$E$41</c:f>
              <c:numCache>
                <c:formatCode>0.00%</c:formatCode>
                <c:ptCount val="40"/>
                <c:pt idx="0">
                  <c:v>0</c:v>
                </c:pt>
                <c:pt idx="1">
                  <c:v>6.875</c:v>
                </c:pt>
                <c:pt idx="2">
                  <c:v>0.44444444444444442</c:v>
                </c:pt>
                <c:pt idx="3">
                  <c:v>0.24175824175824176</c:v>
                </c:pt>
                <c:pt idx="4">
                  <c:v>0.36283185840707965</c:v>
                </c:pt>
                <c:pt idx="5">
                  <c:v>0.25974025974025972</c:v>
                </c:pt>
                <c:pt idx="6">
                  <c:v>0.13917525773195877</c:v>
                </c:pt>
                <c:pt idx="7">
                  <c:v>9.0497737556561084E-2</c:v>
                </c:pt>
                <c:pt idx="8">
                  <c:v>0.19917012448132779</c:v>
                </c:pt>
                <c:pt idx="9">
                  <c:v>0.53287197231833905</c:v>
                </c:pt>
                <c:pt idx="10">
                  <c:v>5.1918735891647853E-2</c:v>
                </c:pt>
                <c:pt idx="11">
                  <c:v>5.7939914163090127E-2</c:v>
                </c:pt>
                <c:pt idx="12">
                  <c:v>3.9175257731958762E-2</c:v>
                </c:pt>
                <c:pt idx="13">
                  <c:v>4.6770601336302897E-2</c:v>
                </c:pt>
                <c:pt idx="14">
                  <c:v>4.2986425339366516E-2</c:v>
                </c:pt>
                <c:pt idx="15">
                  <c:v>3.4168564920273349E-2</c:v>
                </c:pt>
                <c:pt idx="16">
                  <c:v>4.1162227602905568E-2</c:v>
                </c:pt>
                <c:pt idx="17">
                  <c:v>6.4102564102564097E-2</c:v>
                </c:pt>
                <c:pt idx="18">
                  <c:v>2.3195876288659795E-2</c:v>
                </c:pt>
                <c:pt idx="19">
                  <c:v>0.10079575596816977</c:v>
                </c:pt>
                <c:pt idx="20">
                  <c:v>0.10626702997275204</c:v>
                </c:pt>
                <c:pt idx="21">
                  <c:v>9.5238095238095233E-2</c:v>
                </c:pt>
                <c:pt idx="22">
                  <c:v>0.11067193675889328</c:v>
                </c:pt>
                <c:pt idx="23">
                  <c:v>9.055118110236221E-2</c:v>
                </c:pt>
                <c:pt idx="24">
                  <c:v>0.10852713178294573</c:v>
                </c:pt>
                <c:pt idx="25">
                  <c:v>7.9245283018867921E-2</c:v>
                </c:pt>
                <c:pt idx="26">
                  <c:v>5.2434456928838954E-2</c:v>
                </c:pt>
                <c:pt idx="27">
                  <c:v>5.2631578947368418E-2</c:v>
                </c:pt>
                <c:pt idx="28">
                  <c:v>6.0836501901140684E-2</c:v>
                </c:pt>
                <c:pt idx="29">
                  <c:v>9.8425196850393706E-2</c:v>
                </c:pt>
                <c:pt idx="30">
                  <c:v>6.6666666666666666E-2</c:v>
                </c:pt>
                <c:pt idx="31">
                  <c:v>0.08</c:v>
                </c:pt>
                <c:pt idx="32">
                  <c:v>0.12987012987012986</c:v>
                </c:pt>
                <c:pt idx="33">
                  <c:v>8.4388185654008435E-2</c:v>
                </c:pt>
                <c:pt idx="34">
                  <c:v>0.13100436681222707</c:v>
                </c:pt>
                <c:pt idx="35">
                  <c:v>8.050847457627118E-2</c:v>
                </c:pt>
                <c:pt idx="36">
                  <c:v>6.1674008810572688E-2</c:v>
                </c:pt>
                <c:pt idx="37">
                  <c:v>5.4545454545454543E-2</c:v>
                </c:pt>
                <c:pt idx="38">
                  <c:v>0.11467889908256881</c:v>
                </c:pt>
                <c:pt idx="39">
                  <c:v>5.2401746724890827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58AB-4177-8E9F-A81FB5EB0CF9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chemeClr val="accent6">
                  <a:tint val="54000"/>
                </a:schemeClr>
              </a:solidFill>
              <a:round/>
            </a:ln>
            <a:effectLst/>
          </c:spPr>
          <c:marker>
            <c:symbol val="circle"/>
            <c:size val="6"/>
            <c:spPr>
              <a:solidFill>
                <a:srgbClr val="E2BCBF"/>
              </a:solidFill>
              <a:ln w="9525" cap="flat" cmpd="sng" algn="ctr">
                <a:solidFill>
                  <a:schemeClr val="accent6">
                    <a:tint val="54000"/>
                    <a:shade val="95000"/>
                  </a:schemeClr>
                </a:solidFill>
                <a:round/>
              </a:ln>
              <a:effectLst/>
            </c:spPr>
          </c:marker>
          <c:dLbls>
            <c:delete val="1"/>
          </c:dLbls>
          <c:cat>
            <c:strRef>
              <c:f>Sheet1!$A$2:$A$41</c:f>
              <c:strCache>
                <c:ptCount val="4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</c:strCache>
            </c:strRef>
          </c:cat>
          <c:val>
            <c:numRef>
              <c:f>Sheet1!$F$2:$F$41</c:f>
              <c:numCache>
                <c:formatCode>0.00%</c:formatCode>
                <c:ptCount val="40"/>
                <c:pt idx="0">
                  <c:v>0</c:v>
                </c:pt>
                <c:pt idx="1">
                  <c:v>5.875</c:v>
                </c:pt>
                <c:pt idx="2">
                  <c:v>-0.49090909090909091</c:v>
                </c:pt>
                <c:pt idx="3">
                  <c:v>-0.21428571428571427</c:v>
                </c:pt>
                <c:pt idx="4">
                  <c:v>0.86363636363636365</c:v>
                </c:pt>
                <c:pt idx="5">
                  <c:v>-2.4390243902439025E-2</c:v>
                </c:pt>
                <c:pt idx="6">
                  <c:v>-0.32500000000000001</c:v>
                </c:pt>
                <c:pt idx="7">
                  <c:v>-0.25925925925925924</c:v>
                </c:pt>
                <c:pt idx="8">
                  <c:v>1.4</c:v>
                </c:pt>
                <c:pt idx="9">
                  <c:v>2.2083333333333335</c:v>
                </c:pt>
                <c:pt idx="10">
                  <c:v>-0.85064935064935066</c:v>
                </c:pt>
                <c:pt idx="11">
                  <c:v>0.17391304347826086</c:v>
                </c:pt>
                <c:pt idx="12">
                  <c:v>-0.29629629629629628</c:v>
                </c:pt>
                <c:pt idx="13">
                  <c:v>0.10526315789473684</c:v>
                </c:pt>
                <c:pt idx="14">
                  <c:v>-9.5238095238095233E-2</c:v>
                </c:pt>
                <c:pt idx="15">
                  <c:v>-0.21052631578947367</c:v>
                </c:pt>
                <c:pt idx="16">
                  <c:v>0.13333333333333333</c:v>
                </c:pt>
                <c:pt idx="17">
                  <c:v>0.47058823529411764</c:v>
                </c:pt>
                <c:pt idx="18">
                  <c:v>-0.64</c:v>
                </c:pt>
                <c:pt idx="19">
                  <c:v>3.2222222222222223</c:v>
                </c:pt>
                <c:pt idx="20">
                  <c:v>2.6315789473684209E-2</c:v>
                </c:pt>
                <c:pt idx="21">
                  <c:v>-0.38461538461538464</c:v>
                </c:pt>
                <c:pt idx="22">
                  <c:v>0.16666666666666666</c:v>
                </c:pt>
                <c:pt idx="23">
                  <c:v>-0.17857142857142858</c:v>
                </c:pt>
                <c:pt idx="24">
                  <c:v>0.21739130434782608</c:v>
                </c:pt>
                <c:pt idx="25">
                  <c:v>-0.25</c:v>
                </c:pt>
                <c:pt idx="26">
                  <c:v>-0.33333333333333331</c:v>
                </c:pt>
                <c:pt idx="27">
                  <c:v>0</c:v>
                </c:pt>
                <c:pt idx="28">
                  <c:v>0.14285714285714285</c:v>
                </c:pt>
                <c:pt idx="29">
                  <c:v>0.5625</c:v>
                </c:pt>
                <c:pt idx="30">
                  <c:v>-0.28000000000000003</c:v>
                </c:pt>
                <c:pt idx="31">
                  <c:v>0.1111111111111111</c:v>
                </c:pt>
                <c:pt idx="32">
                  <c:v>0.5</c:v>
                </c:pt>
                <c:pt idx="33">
                  <c:v>-0.33333333333333331</c:v>
                </c:pt>
                <c:pt idx="34">
                  <c:v>0.5</c:v>
                </c:pt>
                <c:pt idx="35">
                  <c:v>-0.36666666666666664</c:v>
                </c:pt>
                <c:pt idx="36">
                  <c:v>-0.26315789473684209</c:v>
                </c:pt>
                <c:pt idx="37">
                  <c:v>-0.14285714285714285</c:v>
                </c:pt>
                <c:pt idx="38">
                  <c:v>1.0833333333333333</c:v>
                </c:pt>
                <c:pt idx="39">
                  <c:v>-0.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B-58AB-4177-8E9F-A81FB5EB0CF9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1547136"/>
        <c:axId val="201545600"/>
      </c:lineChart>
      <c:catAx>
        <c:axId val="20153331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cap="none" baseline="0" dirty="0">
                    <a:effectLst/>
                  </a:rPr>
                  <a:t>2019 -2020 Calendar Weeks</a:t>
                </a:r>
                <a:endParaRPr lang="zh-CN" altLang="zh-CN" sz="1200" cap="none" baseline="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1543680"/>
        <c:crosses val="autoZero"/>
        <c:auto val="1"/>
        <c:lblAlgn val="ctr"/>
        <c:lblOffset val="100"/>
        <c:noMultiLvlLbl val="0"/>
      </c:catAx>
      <c:valAx>
        <c:axId val="20154368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1533312"/>
        <c:crosses val="autoZero"/>
        <c:crossBetween val="between"/>
      </c:valAx>
      <c:catAx>
        <c:axId val="20154713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01545600"/>
        <c:crosses val="autoZero"/>
        <c:auto val="1"/>
        <c:lblAlgn val="ctr"/>
        <c:lblOffset val="100"/>
        <c:noMultiLvlLbl val="0"/>
      </c:catAx>
      <c:valAx>
        <c:axId val="201545600"/>
        <c:scaling>
          <c:orientation val="minMax"/>
        </c:scaling>
        <c:delete val="0"/>
        <c:axPos val="r"/>
        <c:numFmt formatCode="0.0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154713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en-US" altLang="zh-CN" sz="1800" b="0" i="0" u="none" strike="noStrike" kern="1200" spc="0" baseline="0" dirty="0" smtClean="0">
                <a:solidFill>
                  <a:srgbClr val="000000">
                    <a:lumMod val="65000"/>
                    <a:lumOff val="35000"/>
                  </a:srgbClr>
                </a:solidFill>
                <a:effectLst/>
                <a:latin typeface="+mn-lt"/>
                <a:ea typeface="+mn-ea"/>
                <a:cs typeface="+mn-cs"/>
              </a:defRPr>
            </a:pPr>
            <a:r>
              <a:rPr lang="en-US" sz="1800" b="0" i="0" baseline="0" dirty="0">
                <a:solidFill>
                  <a:schemeClr val="bg1">
                    <a:lumMod val="50000"/>
                  </a:schemeClr>
                </a:solidFill>
                <a:effectLst/>
              </a:rPr>
              <a:t>User Activities Proportions Overview </a:t>
            </a:r>
            <a:endParaRPr lang="en-US" b="0" dirty="0">
              <a:solidFill>
                <a:schemeClr val="bg1">
                  <a:lumMod val="50000"/>
                </a:schemeClr>
              </a:solidFill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marL="0" marR="0" lvl="0" indent="0" algn="ctr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defRPr lang="en-US" altLang="zh-CN" sz="1800" b="0" i="0" u="none" strike="noStrike" kern="1200" spc="0" baseline="0" dirty="0" smtClean="0">
              <a:solidFill>
                <a:srgbClr val="000000">
                  <a:lumMod val="65000"/>
                  <a:lumOff val="35000"/>
                </a:srgbClr>
              </a:solidFill>
              <a:effectLst/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User Activities Propotions Overview </c:v>
                </c:pt>
              </c:strCache>
            </c:strRef>
          </c:tx>
          <c:dPt>
            <c:idx val="0"/>
            <c:bubble3D val="0"/>
            <c:spPr>
              <a:solidFill>
                <a:srgbClr val="C6C6C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048F-43ED-BF12-92B4B3ED5E5F}"/>
              </c:ext>
            </c:extLst>
          </c:dPt>
          <c:dPt>
            <c:idx val="1"/>
            <c:bubble3D val="0"/>
            <c:spPr>
              <a:solidFill>
                <a:srgbClr val="57575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048F-43ED-BF12-92B4B3ED5E5F}"/>
              </c:ext>
            </c:extLst>
          </c:dPt>
          <c:dPt>
            <c:idx val="2"/>
            <c:bubble3D val="0"/>
            <c:spPr>
              <a:solidFill>
                <a:srgbClr val="BB0A3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048F-43ED-BF12-92B4B3ED5E5F}"/>
              </c:ext>
            </c:extLst>
          </c:dPt>
          <c:dLbls>
            <c:numFmt formatCode="0%" sourceLinked="0"/>
            <c:spPr>
              <a:noFill/>
              <a:ln w="17416"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/>
              <a:lstStyle/>
              <a:p>
                <a:pPr>
                  <a:defRPr lang="zh-CN" sz="1235" b="0" i="0" u="none" strike="noStrike" kern="1200" baseline="0">
                    <a:solidFill>
                      <a:schemeClr val="tx1"/>
                    </a:solidFill>
                    <a:latin typeface="+mj-lt"/>
                    <a:ea typeface="Arial" panose="020B0604020202020204"/>
                    <a:cs typeface="Arial" panose="020B0604020202020204"/>
                  </a:defRPr>
                </a:pPr>
                <a:endParaRPr lang="zh-CN"/>
              </a:p>
            </c:txPr>
            <c:dLblPos val="bestFit"/>
            <c:showLegendKey val="0"/>
            <c:showVal val="0"/>
            <c:showCatName val="0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iscover More</c:v>
                </c:pt>
                <c:pt idx="1">
                  <c:v>Contact</c:v>
                </c:pt>
                <c:pt idx="2">
                  <c:v>Request Test Drive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309</c:v>
                </c:pt>
                <c:pt idx="1">
                  <c:v>98</c:v>
                </c:pt>
                <c:pt idx="2">
                  <c:v>1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048F-43ED-BF12-92B4B3ED5E5F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0"/>
        </c:dLbls>
        <c:firstSliceAng val="0"/>
      </c:pieChart>
      <c:spPr>
        <a:noFill/>
        <a:ln w="17416">
          <a:noFill/>
        </a:ln>
        <a:effectLst/>
      </c:spPr>
    </c:plotArea>
    <c:legend>
      <c:legendPos val="r"/>
      <c:overlay val="0"/>
      <c:spPr>
        <a:noFill/>
        <a:ln w="8708">
          <a:solidFill>
            <a:srgbClr val="FFFFFF"/>
          </a:solidFill>
          <a:prstDash val="solid"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000" b="0" i="0" u="none" strike="noStrike" kern="1200" baseline="0">
              <a:solidFill>
                <a:srgbClr val="000000"/>
              </a:solidFill>
              <a:latin typeface="+mn-lt"/>
              <a:ea typeface="Heiti SC Light"/>
              <a:cs typeface="Heiti SC Light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9525" cap="flat" cmpd="sng" algn="ctr">
      <a:solidFill>
        <a:srgbClr val="8C8C8C"/>
      </a:solidFill>
      <a:prstDash val="solid"/>
    </a:ln>
    <a:effectLst/>
  </c:spPr>
  <c:txPr>
    <a:bodyPr/>
    <a:lstStyle/>
    <a:p>
      <a:pPr>
        <a:defRPr lang="zh-CN" sz="1235" b="0" i="0" u="none" strike="noStrike" baseline="0">
          <a:solidFill>
            <a:srgbClr val="000000"/>
          </a:solidFill>
          <a:latin typeface="VW Headline OT-Book"/>
          <a:ea typeface="VW Headline OT-Book"/>
          <a:cs typeface="VW Headline OT-Book"/>
        </a:defRPr>
      </a:pPr>
      <a:endParaRPr lang="zh-CN"/>
    </a:p>
  </c:txPr>
  <c:externalData r:id="rId3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cap="none" baseline="0" dirty="0">
                <a:effectLst/>
              </a:rPr>
              <a:t>User Preferred Charging Destination</a:t>
            </a:r>
            <a:endParaRPr lang="zh-CN" altLang="zh-CN" cap="none" baseline="0" dirty="0"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2200" b="1" i="0" u="none" strike="noStrike" kern="1200" cap="all" spc="5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4.8546562094759903E-2"/>
          <c:y val="9.4451790198510299E-2"/>
          <c:w val="0.88298045754743004"/>
          <c:h val="0.7187849312953530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ood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cat>
            <c:strRef>
              <c:f>Sheet1!$A$3:$A$41</c:f>
              <c:strCache>
                <c:ptCount val="39"/>
                <c:pt idx="0">
                  <c:v>CW16</c:v>
                </c:pt>
                <c:pt idx="1">
                  <c:v>CW17</c:v>
                </c:pt>
                <c:pt idx="2">
                  <c:v>CW18</c:v>
                </c:pt>
                <c:pt idx="3">
                  <c:v>CW19</c:v>
                </c:pt>
                <c:pt idx="4">
                  <c:v>CW20</c:v>
                </c:pt>
                <c:pt idx="5">
                  <c:v>CW21</c:v>
                </c:pt>
                <c:pt idx="6">
                  <c:v>CW22</c:v>
                </c:pt>
                <c:pt idx="7">
                  <c:v>CW23</c:v>
                </c:pt>
                <c:pt idx="8">
                  <c:v>CW24</c:v>
                </c:pt>
                <c:pt idx="9">
                  <c:v>CW25</c:v>
                </c:pt>
                <c:pt idx="10">
                  <c:v>CW26</c:v>
                </c:pt>
                <c:pt idx="11">
                  <c:v>CW27</c:v>
                </c:pt>
                <c:pt idx="12">
                  <c:v>CW28</c:v>
                </c:pt>
                <c:pt idx="13">
                  <c:v>CW29</c:v>
                </c:pt>
                <c:pt idx="14">
                  <c:v>CW30</c:v>
                </c:pt>
                <c:pt idx="15">
                  <c:v>CW31</c:v>
                </c:pt>
                <c:pt idx="16">
                  <c:v>CW32</c:v>
                </c:pt>
                <c:pt idx="17">
                  <c:v>CW33</c:v>
                </c:pt>
                <c:pt idx="18">
                  <c:v>CW34</c:v>
                </c:pt>
                <c:pt idx="19">
                  <c:v>CW35</c:v>
                </c:pt>
                <c:pt idx="20">
                  <c:v>CW36</c:v>
                </c:pt>
                <c:pt idx="21">
                  <c:v>CW37</c:v>
                </c:pt>
                <c:pt idx="22">
                  <c:v>CW38</c:v>
                </c:pt>
                <c:pt idx="23">
                  <c:v>CW39</c:v>
                </c:pt>
                <c:pt idx="24">
                  <c:v>CW40</c:v>
                </c:pt>
                <c:pt idx="25">
                  <c:v>CW41</c:v>
                </c:pt>
                <c:pt idx="26">
                  <c:v>CW42</c:v>
                </c:pt>
                <c:pt idx="27">
                  <c:v>CW43</c:v>
                </c:pt>
                <c:pt idx="28">
                  <c:v>CW44</c:v>
                </c:pt>
                <c:pt idx="29">
                  <c:v>CW45</c:v>
                </c:pt>
                <c:pt idx="30">
                  <c:v>CW46</c:v>
                </c:pt>
                <c:pt idx="31">
                  <c:v>CW47</c:v>
                </c:pt>
                <c:pt idx="32">
                  <c:v>CW48</c:v>
                </c:pt>
                <c:pt idx="33">
                  <c:v>CW49</c:v>
                </c:pt>
                <c:pt idx="34">
                  <c:v>CW50</c:v>
                </c:pt>
                <c:pt idx="35">
                  <c:v>CW51</c:v>
                </c:pt>
                <c:pt idx="36">
                  <c:v>CW52</c:v>
                </c:pt>
                <c:pt idx="37">
                  <c:v>CW01</c:v>
                </c:pt>
                <c:pt idx="38">
                  <c:v>CW02</c:v>
                </c:pt>
              </c:strCache>
            </c:strRef>
          </c:cat>
          <c:val>
            <c:numRef>
              <c:f>Sheet1!$B$3:$B$41</c:f>
              <c:numCache>
                <c:formatCode>General</c:formatCode>
                <c:ptCount val="39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5</c:v>
                </c:pt>
                <c:pt idx="9">
                  <c:v>1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1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493-4FAE-8130-A46FF93EC72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hopping</c:v>
                </c:pt>
              </c:strCache>
            </c:strRef>
          </c:tx>
          <c:spPr>
            <a:solidFill>
              <a:srgbClr val="4C4C4C"/>
            </a:solidFill>
            <a:ln>
              <a:noFill/>
            </a:ln>
            <a:effectLst/>
          </c:spPr>
          <c:invertIfNegative val="0"/>
          <c:cat>
            <c:strRef>
              <c:f>Sheet1!$A$3:$A$41</c:f>
              <c:strCache>
                <c:ptCount val="39"/>
                <c:pt idx="0">
                  <c:v>CW16</c:v>
                </c:pt>
                <c:pt idx="1">
                  <c:v>CW17</c:v>
                </c:pt>
                <c:pt idx="2">
                  <c:v>CW18</c:v>
                </c:pt>
                <c:pt idx="3">
                  <c:v>CW19</c:v>
                </c:pt>
                <c:pt idx="4">
                  <c:v>CW20</c:v>
                </c:pt>
                <c:pt idx="5">
                  <c:v>CW21</c:v>
                </c:pt>
                <c:pt idx="6">
                  <c:v>CW22</c:v>
                </c:pt>
                <c:pt idx="7">
                  <c:v>CW23</c:v>
                </c:pt>
                <c:pt idx="8">
                  <c:v>CW24</c:v>
                </c:pt>
                <c:pt idx="9">
                  <c:v>CW25</c:v>
                </c:pt>
                <c:pt idx="10">
                  <c:v>CW26</c:v>
                </c:pt>
                <c:pt idx="11">
                  <c:v>CW27</c:v>
                </c:pt>
                <c:pt idx="12">
                  <c:v>CW28</c:v>
                </c:pt>
                <c:pt idx="13">
                  <c:v>CW29</c:v>
                </c:pt>
                <c:pt idx="14">
                  <c:v>CW30</c:v>
                </c:pt>
                <c:pt idx="15">
                  <c:v>CW31</c:v>
                </c:pt>
                <c:pt idx="16">
                  <c:v>CW32</c:v>
                </c:pt>
                <c:pt idx="17">
                  <c:v>CW33</c:v>
                </c:pt>
                <c:pt idx="18">
                  <c:v>CW34</c:v>
                </c:pt>
                <c:pt idx="19">
                  <c:v>CW35</c:v>
                </c:pt>
                <c:pt idx="20">
                  <c:v>CW36</c:v>
                </c:pt>
                <c:pt idx="21">
                  <c:v>CW37</c:v>
                </c:pt>
                <c:pt idx="22">
                  <c:v>CW38</c:v>
                </c:pt>
                <c:pt idx="23">
                  <c:v>CW39</c:v>
                </c:pt>
                <c:pt idx="24">
                  <c:v>CW40</c:v>
                </c:pt>
                <c:pt idx="25">
                  <c:v>CW41</c:v>
                </c:pt>
                <c:pt idx="26">
                  <c:v>CW42</c:v>
                </c:pt>
                <c:pt idx="27">
                  <c:v>CW43</c:v>
                </c:pt>
                <c:pt idx="28">
                  <c:v>CW44</c:v>
                </c:pt>
                <c:pt idx="29">
                  <c:v>CW45</c:v>
                </c:pt>
                <c:pt idx="30">
                  <c:v>CW46</c:v>
                </c:pt>
                <c:pt idx="31">
                  <c:v>CW47</c:v>
                </c:pt>
                <c:pt idx="32">
                  <c:v>CW48</c:v>
                </c:pt>
                <c:pt idx="33">
                  <c:v>CW49</c:v>
                </c:pt>
                <c:pt idx="34">
                  <c:v>CW50</c:v>
                </c:pt>
                <c:pt idx="35">
                  <c:v>CW51</c:v>
                </c:pt>
                <c:pt idx="36">
                  <c:v>CW52</c:v>
                </c:pt>
                <c:pt idx="37">
                  <c:v>CW01</c:v>
                </c:pt>
                <c:pt idx="38">
                  <c:v>CW02</c:v>
                </c:pt>
              </c:strCache>
            </c:strRef>
          </c:cat>
          <c:val>
            <c:numRef>
              <c:f>Sheet1!$C$3:$C$41</c:f>
              <c:numCache>
                <c:formatCode>General</c:formatCode>
                <c:ptCount val="39"/>
                <c:pt idx="0">
                  <c:v>3</c:v>
                </c:pt>
                <c:pt idx="1">
                  <c:v>0</c:v>
                </c:pt>
                <c:pt idx="2">
                  <c:v>1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1</c:v>
                </c:pt>
                <c:pt idx="7">
                  <c:v>0</c:v>
                </c:pt>
                <c:pt idx="8">
                  <c:v>1</c:v>
                </c:pt>
                <c:pt idx="9">
                  <c:v>1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1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493-4FAE-8130-A46FF93EC72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Fun</c:v>
                </c:pt>
              </c:strCache>
            </c:strRef>
          </c:tx>
          <c:spPr>
            <a:solidFill>
              <a:srgbClr val="898989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E493-4FAE-8130-A46FF93EC721}"/>
              </c:ext>
            </c:extLst>
          </c:dPt>
          <c:cat>
            <c:strRef>
              <c:f>Sheet1!$A$3:$A$41</c:f>
              <c:strCache>
                <c:ptCount val="39"/>
                <c:pt idx="0">
                  <c:v>CW16</c:v>
                </c:pt>
                <c:pt idx="1">
                  <c:v>CW17</c:v>
                </c:pt>
                <c:pt idx="2">
                  <c:v>CW18</c:v>
                </c:pt>
                <c:pt idx="3">
                  <c:v>CW19</c:v>
                </c:pt>
                <c:pt idx="4">
                  <c:v>CW20</c:v>
                </c:pt>
                <c:pt idx="5">
                  <c:v>CW21</c:v>
                </c:pt>
                <c:pt idx="6">
                  <c:v>CW22</c:v>
                </c:pt>
                <c:pt idx="7">
                  <c:v>CW23</c:v>
                </c:pt>
                <c:pt idx="8">
                  <c:v>CW24</c:v>
                </c:pt>
                <c:pt idx="9">
                  <c:v>CW25</c:v>
                </c:pt>
                <c:pt idx="10">
                  <c:v>CW26</c:v>
                </c:pt>
                <c:pt idx="11">
                  <c:v>CW27</c:v>
                </c:pt>
                <c:pt idx="12">
                  <c:v>CW28</c:v>
                </c:pt>
                <c:pt idx="13">
                  <c:v>CW29</c:v>
                </c:pt>
                <c:pt idx="14">
                  <c:v>CW30</c:v>
                </c:pt>
                <c:pt idx="15">
                  <c:v>CW31</c:v>
                </c:pt>
                <c:pt idx="16">
                  <c:v>CW32</c:v>
                </c:pt>
                <c:pt idx="17">
                  <c:v>CW33</c:v>
                </c:pt>
                <c:pt idx="18">
                  <c:v>CW34</c:v>
                </c:pt>
                <c:pt idx="19">
                  <c:v>CW35</c:v>
                </c:pt>
                <c:pt idx="20">
                  <c:v>CW36</c:v>
                </c:pt>
                <c:pt idx="21">
                  <c:v>CW37</c:v>
                </c:pt>
                <c:pt idx="22">
                  <c:v>CW38</c:v>
                </c:pt>
                <c:pt idx="23">
                  <c:v>CW39</c:v>
                </c:pt>
                <c:pt idx="24">
                  <c:v>CW40</c:v>
                </c:pt>
                <c:pt idx="25">
                  <c:v>CW41</c:v>
                </c:pt>
                <c:pt idx="26">
                  <c:v>CW42</c:v>
                </c:pt>
                <c:pt idx="27">
                  <c:v>CW43</c:v>
                </c:pt>
                <c:pt idx="28">
                  <c:v>CW44</c:v>
                </c:pt>
                <c:pt idx="29">
                  <c:v>CW45</c:v>
                </c:pt>
                <c:pt idx="30">
                  <c:v>CW46</c:v>
                </c:pt>
                <c:pt idx="31">
                  <c:v>CW47</c:v>
                </c:pt>
                <c:pt idx="32">
                  <c:v>CW48</c:v>
                </c:pt>
                <c:pt idx="33">
                  <c:v>CW49</c:v>
                </c:pt>
                <c:pt idx="34">
                  <c:v>CW50</c:v>
                </c:pt>
                <c:pt idx="35">
                  <c:v>CW51</c:v>
                </c:pt>
                <c:pt idx="36">
                  <c:v>CW52</c:v>
                </c:pt>
                <c:pt idx="37">
                  <c:v>CW01</c:v>
                </c:pt>
                <c:pt idx="38">
                  <c:v>CW02</c:v>
                </c:pt>
              </c:strCache>
            </c:strRef>
          </c:cat>
          <c:val>
            <c:numRef>
              <c:f>Sheet1!$D$3:$D$41</c:f>
              <c:numCache>
                <c:formatCode>General</c:formatCode>
                <c:ptCount val="39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3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1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493-4FAE-8130-A46FF93EC721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Beauty</c:v>
                </c:pt>
              </c:strCache>
            </c:strRef>
          </c:tx>
          <c:spPr>
            <a:solidFill>
              <a:srgbClr val="9B5060"/>
            </a:solidFill>
            <a:ln>
              <a:noFill/>
            </a:ln>
            <a:effectLst/>
          </c:spPr>
          <c:invertIfNegative val="0"/>
          <c:cat>
            <c:strRef>
              <c:f>Sheet1!$A$3:$A$41</c:f>
              <c:strCache>
                <c:ptCount val="39"/>
                <c:pt idx="0">
                  <c:v>CW16</c:v>
                </c:pt>
                <c:pt idx="1">
                  <c:v>CW17</c:v>
                </c:pt>
                <c:pt idx="2">
                  <c:v>CW18</c:v>
                </c:pt>
                <c:pt idx="3">
                  <c:v>CW19</c:v>
                </c:pt>
                <c:pt idx="4">
                  <c:v>CW20</c:v>
                </c:pt>
                <c:pt idx="5">
                  <c:v>CW21</c:v>
                </c:pt>
                <c:pt idx="6">
                  <c:v>CW22</c:v>
                </c:pt>
                <c:pt idx="7">
                  <c:v>CW23</c:v>
                </c:pt>
                <c:pt idx="8">
                  <c:v>CW24</c:v>
                </c:pt>
                <c:pt idx="9">
                  <c:v>CW25</c:v>
                </c:pt>
                <c:pt idx="10">
                  <c:v>CW26</c:v>
                </c:pt>
                <c:pt idx="11">
                  <c:v>CW27</c:v>
                </c:pt>
                <c:pt idx="12">
                  <c:v>CW28</c:v>
                </c:pt>
                <c:pt idx="13">
                  <c:v>CW29</c:v>
                </c:pt>
                <c:pt idx="14">
                  <c:v>CW30</c:v>
                </c:pt>
                <c:pt idx="15">
                  <c:v>CW31</c:v>
                </c:pt>
                <c:pt idx="16">
                  <c:v>CW32</c:v>
                </c:pt>
                <c:pt idx="17">
                  <c:v>CW33</c:v>
                </c:pt>
                <c:pt idx="18">
                  <c:v>CW34</c:v>
                </c:pt>
                <c:pt idx="19">
                  <c:v>CW35</c:v>
                </c:pt>
                <c:pt idx="20">
                  <c:v>CW36</c:v>
                </c:pt>
                <c:pt idx="21">
                  <c:v>CW37</c:v>
                </c:pt>
                <c:pt idx="22">
                  <c:v>CW38</c:v>
                </c:pt>
                <c:pt idx="23">
                  <c:v>CW39</c:v>
                </c:pt>
                <c:pt idx="24">
                  <c:v>CW40</c:v>
                </c:pt>
                <c:pt idx="25">
                  <c:v>CW41</c:v>
                </c:pt>
                <c:pt idx="26">
                  <c:v>CW42</c:v>
                </c:pt>
                <c:pt idx="27">
                  <c:v>CW43</c:v>
                </c:pt>
                <c:pt idx="28">
                  <c:v>CW44</c:v>
                </c:pt>
                <c:pt idx="29">
                  <c:v>CW45</c:v>
                </c:pt>
                <c:pt idx="30">
                  <c:v>CW46</c:v>
                </c:pt>
                <c:pt idx="31">
                  <c:v>CW47</c:v>
                </c:pt>
                <c:pt idx="32">
                  <c:v>CW48</c:v>
                </c:pt>
                <c:pt idx="33">
                  <c:v>CW49</c:v>
                </c:pt>
                <c:pt idx="34">
                  <c:v>CW50</c:v>
                </c:pt>
                <c:pt idx="35">
                  <c:v>CW51</c:v>
                </c:pt>
                <c:pt idx="36">
                  <c:v>CW52</c:v>
                </c:pt>
                <c:pt idx="37">
                  <c:v>CW01</c:v>
                </c:pt>
                <c:pt idx="38">
                  <c:v>CW02</c:v>
                </c:pt>
              </c:strCache>
            </c:strRef>
          </c:cat>
          <c:val>
            <c:numRef>
              <c:f>Sheet1!$E$3:$E$41</c:f>
              <c:numCache>
                <c:formatCode>General</c:formatCode>
                <c:ptCount val="39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1</c:v>
                </c:pt>
                <c:pt idx="12">
                  <c:v>0</c:v>
                </c:pt>
                <c:pt idx="13">
                  <c:v>1</c:v>
                </c:pt>
                <c:pt idx="14">
                  <c:v>0</c:v>
                </c:pt>
                <c:pt idx="15">
                  <c:v>0</c:v>
                </c:pt>
                <c:pt idx="16">
                  <c:v>1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493-4FAE-8130-A46FF93EC721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Fitness</c:v>
                </c:pt>
              </c:strCache>
            </c:strRef>
          </c:tx>
          <c:spPr>
            <a:solidFill>
              <a:srgbClr val="E0E0E0"/>
            </a:solidFill>
            <a:ln>
              <a:noFill/>
            </a:ln>
            <a:effectLst/>
          </c:spPr>
          <c:invertIfNegative val="0"/>
          <c:cat>
            <c:strRef>
              <c:f>Sheet1!$A$3:$A$41</c:f>
              <c:strCache>
                <c:ptCount val="39"/>
                <c:pt idx="0">
                  <c:v>CW16</c:v>
                </c:pt>
                <c:pt idx="1">
                  <c:v>CW17</c:v>
                </c:pt>
                <c:pt idx="2">
                  <c:v>CW18</c:v>
                </c:pt>
                <c:pt idx="3">
                  <c:v>CW19</c:v>
                </c:pt>
                <c:pt idx="4">
                  <c:v>CW20</c:v>
                </c:pt>
                <c:pt idx="5">
                  <c:v>CW21</c:v>
                </c:pt>
                <c:pt idx="6">
                  <c:v>CW22</c:v>
                </c:pt>
                <c:pt idx="7">
                  <c:v>CW23</c:v>
                </c:pt>
                <c:pt idx="8">
                  <c:v>CW24</c:v>
                </c:pt>
                <c:pt idx="9">
                  <c:v>CW25</c:v>
                </c:pt>
                <c:pt idx="10">
                  <c:v>CW26</c:v>
                </c:pt>
                <c:pt idx="11">
                  <c:v>CW27</c:v>
                </c:pt>
                <c:pt idx="12">
                  <c:v>CW28</c:v>
                </c:pt>
                <c:pt idx="13">
                  <c:v>CW29</c:v>
                </c:pt>
                <c:pt idx="14">
                  <c:v>CW30</c:v>
                </c:pt>
                <c:pt idx="15">
                  <c:v>CW31</c:v>
                </c:pt>
                <c:pt idx="16">
                  <c:v>CW32</c:v>
                </c:pt>
                <c:pt idx="17">
                  <c:v>CW33</c:v>
                </c:pt>
                <c:pt idx="18">
                  <c:v>CW34</c:v>
                </c:pt>
                <c:pt idx="19">
                  <c:v>CW35</c:v>
                </c:pt>
                <c:pt idx="20">
                  <c:v>CW36</c:v>
                </c:pt>
                <c:pt idx="21">
                  <c:v>CW37</c:v>
                </c:pt>
                <c:pt idx="22">
                  <c:v>CW38</c:v>
                </c:pt>
                <c:pt idx="23">
                  <c:v>CW39</c:v>
                </c:pt>
                <c:pt idx="24">
                  <c:v>CW40</c:v>
                </c:pt>
                <c:pt idx="25">
                  <c:v>CW41</c:v>
                </c:pt>
                <c:pt idx="26">
                  <c:v>CW42</c:v>
                </c:pt>
                <c:pt idx="27">
                  <c:v>CW43</c:v>
                </c:pt>
                <c:pt idx="28">
                  <c:v>CW44</c:v>
                </c:pt>
                <c:pt idx="29">
                  <c:v>CW45</c:v>
                </c:pt>
                <c:pt idx="30">
                  <c:v>CW46</c:v>
                </c:pt>
                <c:pt idx="31">
                  <c:v>CW47</c:v>
                </c:pt>
                <c:pt idx="32">
                  <c:v>CW48</c:v>
                </c:pt>
                <c:pt idx="33">
                  <c:v>CW49</c:v>
                </c:pt>
                <c:pt idx="34">
                  <c:v>CW50</c:v>
                </c:pt>
                <c:pt idx="35">
                  <c:v>CW51</c:v>
                </c:pt>
                <c:pt idx="36">
                  <c:v>CW52</c:v>
                </c:pt>
                <c:pt idx="37">
                  <c:v>CW01</c:v>
                </c:pt>
                <c:pt idx="38">
                  <c:v>CW02</c:v>
                </c:pt>
              </c:strCache>
            </c:strRef>
          </c:cat>
          <c:val>
            <c:numRef>
              <c:f>Sheet1!$F$3:$F$41</c:f>
              <c:numCache>
                <c:formatCode>General</c:formatCode>
                <c:ptCount val="39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493-4FAE-8130-A46FF93EC7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6881920"/>
        <c:axId val="206901632"/>
      </c:barChart>
      <c:lineChart>
        <c:grouping val="standard"/>
        <c:varyColors val="0"/>
        <c:ser>
          <c:idx val="5"/>
          <c:order val="5"/>
          <c:tx>
            <c:strRef>
              <c:f>Sheet1!$G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3:$A$41</c:f>
              <c:strCache>
                <c:ptCount val="39"/>
                <c:pt idx="0">
                  <c:v>CW16</c:v>
                </c:pt>
                <c:pt idx="1">
                  <c:v>CW17</c:v>
                </c:pt>
                <c:pt idx="2">
                  <c:v>CW18</c:v>
                </c:pt>
                <c:pt idx="3">
                  <c:v>CW19</c:v>
                </c:pt>
                <c:pt idx="4">
                  <c:v>CW20</c:v>
                </c:pt>
                <c:pt idx="5">
                  <c:v>CW21</c:v>
                </c:pt>
                <c:pt idx="6">
                  <c:v>CW22</c:v>
                </c:pt>
                <c:pt idx="7">
                  <c:v>CW23</c:v>
                </c:pt>
                <c:pt idx="8">
                  <c:v>CW24</c:v>
                </c:pt>
                <c:pt idx="9">
                  <c:v>CW25</c:v>
                </c:pt>
                <c:pt idx="10">
                  <c:v>CW26</c:v>
                </c:pt>
                <c:pt idx="11">
                  <c:v>CW27</c:v>
                </c:pt>
                <c:pt idx="12">
                  <c:v>CW28</c:v>
                </c:pt>
                <c:pt idx="13">
                  <c:v>CW29</c:v>
                </c:pt>
                <c:pt idx="14">
                  <c:v>CW30</c:v>
                </c:pt>
                <c:pt idx="15">
                  <c:v>CW31</c:v>
                </c:pt>
                <c:pt idx="16">
                  <c:v>CW32</c:v>
                </c:pt>
                <c:pt idx="17">
                  <c:v>CW33</c:v>
                </c:pt>
                <c:pt idx="18">
                  <c:v>CW34</c:v>
                </c:pt>
                <c:pt idx="19">
                  <c:v>CW35</c:v>
                </c:pt>
                <c:pt idx="20">
                  <c:v>CW36</c:v>
                </c:pt>
                <c:pt idx="21">
                  <c:v>CW37</c:v>
                </c:pt>
                <c:pt idx="22">
                  <c:v>CW38</c:v>
                </c:pt>
                <c:pt idx="23">
                  <c:v>CW39</c:v>
                </c:pt>
                <c:pt idx="24">
                  <c:v>CW40</c:v>
                </c:pt>
                <c:pt idx="25">
                  <c:v>CW41</c:v>
                </c:pt>
                <c:pt idx="26">
                  <c:v>CW42</c:v>
                </c:pt>
                <c:pt idx="27">
                  <c:v>CW43</c:v>
                </c:pt>
                <c:pt idx="28">
                  <c:v>CW44</c:v>
                </c:pt>
                <c:pt idx="29">
                  <c:v>CW45</c:v>
                </c:pt>
                <c:pt idx="30">
                  <c:v>CW46</c:v>
                </c:pt>
                <c:pt idx="31">
                  <c:v>CW47</c:v>
                </c:pt>
                <c:pt idx="32">
                  <c:v>CW48</c:v>
                </c:pt>
                <c:pt idx="33">
                  <c:v>CW49</c:v>
                </c:pt>
                <c:pt idx="34">
                  <c:v>CW50</c:v>
                </c:pt>
                <c:pt idx="35">
                  <c:v>CW51</c:v>
                </c:pt>
                <c:pt idx="36">
                  <c:v>CW52</c:v>
                </c:pt>
                <c:pt idx="37">
                  <c:v>CW01</c:v>
                </c:pt>
                <c:pt idx="38">
                  <c:v>CW02</c:v>
                </c:pt>
              </c:strCache>
            </c:strRef>
          </c:cat>
          <c:val>
            <c:numRef>
              <c:f>Sheet1!$G$3:$G$41</c:f>
              <c:numCache>
                <c:formatCode>0.00%</c:formatCode>
                <c:ptCount val="39"/>
                <c:pt idx="0" formatCode="0%">
                  <c:v>#N/A</c:v>
                </c:pt>
                <c:pt idx="1">
                  <c:v>0</c:v>
                </c:pt>
                <c:pt idx="2">
                  <c:v>0.125</c:v>
                </c:pt>
                <c:pt idx="3">
                  <c:v>0.1111111111111111</c:v>
                </c:pt>
                <c:pt idx="4">
                  <c:v>0</c:v>
                </c:pt>
                <c:pt idx="5">
                  <c:v>0</c:v>
                </c:pt>
                <c:pt idx="6">
                  <c:v>0.1</c:v>
                </c:pt>
                <c:pt idx="7">
                  <c:v>9.0909090909090912E-2</c:v>
                </c:pt>
                <c:pt idx="8">
                  <c:v>0.75</c:v>
                </c:pt>
                <c:pt idx="9">
                  <c:v>9.5238095238095233E-2</c:v>
                </c:pt>
                <c:pt idx="10">
                  <c:v>0</c:v>
                </c:pt>
                <c:pt idx="11">
                  <c:v>4.3478260869565216E-2</c:v>
                </c:pt>
                <c:pt idx="12">
                  <c:v>0</c:v>
                </c:pt>
                <c:pt idx="13">
                  <c:v>8.3333333333333329E-2</c:v>
                </c:pt>
                <c:pt idx="14">
                  <c:v>0</c:v>
                </c:pt>
                <c:pt idx="15">
                  <c:v>0</c:v>
                </c:pt>
                <c:pt idx="16">
                  <c:v>7.6923076923076927E-2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3.5714285714285712E-2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E493-4FAE-8130-A46FF93EC721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98989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898989"/>
              </a:solidFill>
              <a:ln w="9525" cap="flat" cmpd="sng" algn="ctr">
                <a:solidFill>
                  <a:srgbClr val="898989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3:$A$41</c:f>
              <c:strCache>
                <c:ptCount val="39"/>
                <c:pt idx="0">
                  <c:v>CW16</c:v>
                </c:pt>
                <c:pt idx="1">
                  <c:v>CW17</c:v>
                </c:pt>
                <c:pt idx="2">
                  <c:v>CW18</c:v>
                </c:pt>
                <c:pt idx="3">
                  <c:v>CW19</c:v>
                </c:pt>
                <c:pt idx="4">
                  <c:v>CW20</c:v>
                </c:pt>
                <c:pt idx="5">
                  <c:v>CW21</c:v>
                </c:pt>
                <c:pt idx="6">
                  <c:v>CW22</c:v>
                </c:pt>
                <c:pt idx="7">
                  <c:v>CW23</c:v>
                </c:pt>
                <c:pt idx="8">
                  <c:v>CW24</c:v>
                </c:pt>
                <c:pt idx="9">
                  <c:v>CW25</c:v>
                </c:pt>
                <c:pt idx="10">
                  <c:v>CW26</c:v>
                </c:pt>
                <c:pt idx="11">
                  <c:v>CW27</c:v>
                </c:pt>
                <c:pt idx="12">
                  <c:v>CW28</c:v>
                </c:pt>
                <c:pt idx="13">
                  <c:v>CW29</c:v>
                </c:pt>
                <c:pt idx="14">
                  <c:v>CW30</c:v>
                </c:pt>
                <c:pt idx="15">
                  <c:v>CW31</c:v>
                </c:pt>
                <c:pt idx="16">
                  <c:v>CW32</c:v>
                </c:pt>
                <c:pt idx="17">
                  <c:v>CW33</c:v>
                </c:pt>
                <c:pt idx="18">
                  <c:v>CW34</c:v>
                </c:pt>
                <c:pt idx="19">
                  <c:v>CW35</c:v>
                </c:pt>
                <c:pt idx="20">
                  <c:v>CW36</c:v>
                </c:pt>
                <c:pt idx="21">
                  <c:v>CW37</c:v>
                </c:pt>
                <c:pt idx="22">
                  <c:v>CW38</c:v>
                </c:pt>
                <c:pt idx="23">
                  <c:v>CW39</c:v>
                </c:pt>
                <c:pt idx="24">
                  <c:v>CW40</c:v>
                </c:pt>
                <c:pt idx="25">
                  <c:v>CW41</c:v>
                </c:pt>
                <c:pt idx="26">
                  <c:v>CW42</c:v>
                </c:pt>
                <c:pt idx="27">
                  <c:v>CW43</c:v>
                </c:pt>
                <c:pt idx="28">
                  <c:v>CW44</c:v>
                </c:pt>
                <c:pt idx="29">
                  <c:v>CW45</c:v>
                </c:pt>
                <c:pt idx="30">
                  <c:v>CW46</c:v>
                </c:pt>
                <c:pt idx="31">
                  <c:v>CW47</c:v>
                </c:pt>
                <c:pt idx="32">
                  <c:v>CW48</c:v>
                </c:pt>
                <c:pt idx="33">
                  <c:v>CW49</c:v>
                </c:pt>
                <c:pt idx="34">
                  <c:v>CW50</c:v>
                </c:pt>
                <c:pt idx="35">
                  <c:v>CW51</c:v>
                </c:pt>
                <c:pt idx="36">
                  <c:v>CW52</c:v>
                </c:pt>
                <c:pt idx="37">
                  <c:v>CW01</c:v>
                </c:pt>
                <c:pt idx="38">
                  <c:v>CW02</c:v>
                </c:pt>
              </c:strCache>
            </c:strRef>
          </c:cat>
          <c:val>
            <c:numRef>
              <c:f>Sheet1!$H$3:$H$41</c:f>
              <c:numCache>
                <c:formatCode>0.00%</c:formatCode>
                <c:ptCount val="39"/>
                <c:pt idx="0" formatCode="General">
                  <c:v>#N/A</c:v>
                </c:pt>
                <c:pt idx="1">
                  <c:v>#N/A</c:v>
                </c:pt>
                <c:pt idx="2">
                  <c:v>0</c:v>
                </c:pt>
                <c:pt idx="3">
                  <c:v>-1.2345679012345635E-2</c:v>
                </c:pt>
                <c:pt idx="4">
                  <c:v>-1</c:v>
                </c:pt>
                <c:pt idx="5">
                  <c:v>0</c:v>
                </c:pt>
                <c:pt idx="6">
                  <c:v>0</c:v>
                </c:pt>
                <c:pt idx="7">
                  <c:v>-8.2644628099175083E-3</c:v>
                </c:pt>
                <c:pt idx="8">
                  <c:v>7.9375000000000018</c:v>
                </c:pt>
                <c:pt idx="9">
                  <c:v>-0.78510378510378509</c:v>
                </c:pt>
                <c:pt idx="10">
                  <c:v>-1</c:v>
                </c:pt>
                <c:pt idx="11">
                  <c:v>0</c:v>
                </c:pt>
                <c:pt idx="12">
                  <c:v>-1</c:v>
                </c:pt>
                <c:pt idx="13">
                  <c:v>0</c:v>
                </c:pt>
                <c:pt idx="14">
                  <c:v>-1</c:v>
                </c:pt>
                <c:pt idx="15">
                  <c:v>0</c:v>
                </c:pt>
                <c:pt idx="16">
                  <c:v>0</c:v>
                </c:pt>
                <c:pt idx="17">
                  <c:v>-1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-1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E493-4FAE-8130-A46FF93EC7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6926976"/>
        <c:axId val="206904320"/>
      </c:lineChart>
      <c:catAx>
        <c:axId val="20688192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cap="none" baseline="0" dirty="0">
                    <a:effectLst/>
                  </a:rPr>
                  <a:t> </a:t>
                </a:r>
                <a:r>
                  <a:rPr lang="en-US" sz="1195" b="0" i="0" u="none" strike="noStrike" cap="all" baseline="0" dirty="0">
                    <a:effectLst/>
                  </a:rPr>
                  <a:t>2019-2020 </a:t>
                </a:r>
                <a:r>
                  <a:rPr lang="en-US" altLang="zh-CN" sz="1200" b="0" i="0" cap="none" baseline="0" dirty="0">
                    <a:effectLst/>
                  </a:rPr>
                  <a:t>Calendar Weeks</a:t>
                </a:r>
                <a:endParaRPr lang="zh-CN" altLang="zh-CN" sz="1200" cap="none" baseline="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6901632"/>
        <c:crosses val="autoZero"/>
        <c:auto val="1"/>
        <c:lblAlgn val="ctr"/>
        <c:lblOffset val="100"/>
        <c:noMultiLvlLbl val="0"/>
      </c:catAx>
      <c:valAx>
        <c:axId val="206901632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6881920"/>
        <c:crosses val="autoZero"/>
        <c:crossBetween val="between"/>
      </c:valAx>
      <c:catAx>
        <c:axId val="20692697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06904320"/>
        <c:crosses val="autoZero"/>
        <c:auto val="1"/>
        <c:lblAlgn val="ctr"/>
        <c:lblOffset val="100"/>
        <c:noMultiLvlLbl val="0"/>
      </c:catAx>
      <c:valAx>
        <c:axId val="20690432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692697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rPr>
              <a:t>Average Weekly Selected Times</a:t>
            </a:r>
            <a:endParaRPr lang="en-US" sz="1800" dirty="0">
              <a:latin typeface="+mn-lt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8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0.11581510415940301"/>
          <c:y val="0.115678480742669"/>
          <c:w val="0.77742429651611999"/>
          <c:h val="0.6001842976149720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ood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strRef>
              <c:f>Sheet1!$A$4:$A$41</c:f>
              <c:strCache>
                <c:ptCount val="38"/>
                <c:pt idx="0">
                  <c:v>CW17</c:v>
                </c:pt>
                <c:pt idx="1">
                  <c:v>CW18</c:v>
                </c:pt>
                <c:pt idx="2">
                  <c:v>CW19</c:v>
                </c:pt>
                <c:pt idx="3">
                  <c:v>CW20</c:v>
                </c:pt>
                <c:pt idx="4">
                  <c:v>CW21</c:v>
                </c:pt>
                <c:pt idx="5">
                  <c:v>CW22</c:v>
                </c:pt>
                <c:pt idx="6">
                  <c:v>CW23</c:v>
                </c:pt>
                <c:pt idx="7">
                  <c:v>CW24</c:v>
                </c:pt>
                <c:pt idx="8">
                  <c:v>CW25</c:v>
                </c:pt>
                <c:pt idx="9">
                  <c:v>CW26</c:v>
                </c:pt>
                <c:pt idx="10">
                  <c:v>CW27</c:v>
                </c:pt>
                <c:pt idx="11">
                  <c:v>CW28</c:v>
                </c:pt>
                <c:pt idx="12">
                  <c:v>CW29</c:v>
                </c:pt>
                <c:pt idx="13">
                  <c:v>CW30</c:v>
                </c:pt>
                <c:pt idx="14">
                  <c:v>CW31</c:v>
                </c:pt>
                <c:pt idx="15">
                  <c:v>CW32</c:v>
                </c:pt>
                <c:pt idx="16">
                  <c:v>CW33</c:v>
                </c:pt>
                <c:pt idx="17">
                  <c:v>CW34</c:v>
                </c:pt>
                <c:pt idx="18">
                  <c:v>CW35</c:v>
                </c:pt>
                <c:pt idx="19">
                  <c:v>CW36</c:v>
                </c:pt>
                <c:pt idx="20">
                  <c:v>CW37</c:v>
                </c:pt>
                <c:pt idx="21">
                  <c:v>CW38</c:v>
                </c:pt>
                <c:pt idx="22">
                  <c:v>CW39</c:v>
                </c:pt>
                <c:pt idx="23">
                  <c:v>CW40</c:v>
                </c:pt>
                <c:pt idx="24">
                  <c:v>CW41</c:v>
                </c:pt>
                <c:pt idx="25">
                  <c:v>CW42</c:v>
                </c:pt>
                <c:pt idx="26">
                  <c:v>CW43</c:v>
                </c:pt>
                <c:pt idx="27">
                  <c:v>CW44</c:v>
                </c:pt>
                <c:pt idx="28">
                  <c:v>CW45</c:v>
                </c:pt>
                <c:pt idx="29">
                  <c:v>CW46</c:v>
                </c:pt>
                <c:pt idx="30">
                  <c:v>CW47</c:v>
                </c:pt>
                <c:pt idx="31">
                  <c:v>CW48</c:v>
                </c:pt>
                <c:pt idx="32">
                  <c:v>CW49</c:v>
                </c:pt>
                <c:pt idx="33">
                  <c:v>CW50</c:v>
                </c:pt>
                <c:pt idx="34">
                  <c:v>CW51</c:v>
                </c:pt>
                <c:pt idx="35">
                  <c:v>CW52</c:v>
                </c:pt>
                <c:pt idx="36">
                  <c:v>CW01</c:v>
                </c:pt>
                <c:pt idx="37">
                  <c:v>CW02</c:v>
                </c:pt>
              </c:strCache>
            </c:strRef>
          </c:cat>
          <c:val>
            <c:numRef>
              <c:f>Sheet1!$B$4:$B$41</c:f>
              <c:numCache>
                <c:formatCode>General</c:formatCode>
                <c:ptCount val="3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1</c:v>
                </c:pt>
                <c:pt idx="7">
                  <c:v>5</c:v>
                </c:pt>
                <c:pt idx="8">
                  <c:v>1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1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396-4064-A20A-4B024757742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hopping</c:v>
                </c:pt>
              </c:strCache>
            </c:strRef>
          </c:tx>
          <c:spPr>
            <a:solidFill>
              <a:srgbClr val="4C4C4C"/>
            </a:solidFill>
            <a:ln>
              <a:noFill/>
            </a:ln>
            <a:effectLst/>
          </c:spPr>
          <c:invertIfNegative val="0"/>
          <c:cat>
            <c:strRef>
              <c:f>Sheet1!$A$4:$A$41</c:f>
              <c:strCache>
                <c:ptCount val="38"/>
                <c:pt idx="0">
                  <c:v>CW17</c:v>
                </c:pt>
                <c:pt idx="1">
                  <c:v>CW18</c:v>
                </c:pt>
                <c:pt idx="2">
                  <c:v>CW19</c:v>
                </c:pt>
                <c:pt idx="3">
                  <c:v>CW20</c:v>
                </c:pt>
                <c:pt idx="4">
                  <c:v>CW21</c:v>
                </c:pt>
                <c:pt idx="5">
                  <c:v>CW22</c:v>
                </c:pt>
                <c:pt idx="6">
                  <c:v>CW23</c:v>
                </c:pt>
                <c:pt idx="7">
                  <c:v>CW24</c:v>
                </c:pt>
                <c:pt idx="8">
                  <c:v>CW25</c:v>
                </c:pt>
                <c:pt idx="9">
                  <c:v>CW26</c:v>
                </c:pt>
                <c:pt idx="10">
                  <c:v>CW27</c:v>
                </c:pt>
                <c:pt idx="11">
                  <c:v>CW28</c:v>
                </c:pt>
                <c:pt idx="12">
                  <c:v>CW29</c:v>
                </c:pt>
                <c:pt idx="13">
                  <c:v>CW30</c:v>
                </c:pt>
                <c:pt idx="14">
                  <c:v>CW31</c:v>
                </c:pt>
                <c:pt idx="15">
                  <c:v>CW32</c:v>
                </c:pt>
                <c:pt idx="16">
                  <c:v>CW33</c:v>
                </c:pt>
                <c:pt idx="17">
                  <c:v>CW34</c:v>
                </c:pt>
                <c:pt idx="18">
                  <c:v>CW35</c:v>
                </c:pt>
                <c:pt idx="19">
                  <c:v>CW36</c:v>
                </c:pt>
                <c:pt idx="20">
                  <c:v>CW37</c:v>
                </c:pt>
                <c:pt idx="21">
                  <c:v>CW38</c:v>
                </c:pt>
                <c:pt idx="22">
                  <c:v>CW39</c:v>
                </c:pt>
                <c:pt idx="23">
                  <c:v>CW40</c:v>
                </c:pt>
                <c:pt idx="24">
                  <c:v>CW41</c:v>
                </c:pt>
                <c:pt idx="25">
                  <c:v>CW42</c:v>
                </c:pt>
                <c:pt idx="26">
                  <c:v>CW43</c:v>
                </c:pt>
                <c:pt idx="27">
                  <c:v>CW44</c:v>
                </c:pt>
                <c:pt idx="28">
                  <c:v>CW45</c:v>
                </c:pt>
                <c:pt idx="29">
                  <c:v>CW46</c:v>
                </c:pt>
                <c:pt idx="30">
                  <c:v>CW47</c:v>
                </c:pt>
                <c:pt idx="31">
                  <c:v>CW48</c:v>
                </c:pt>
                <c:pt idx="32">
                  <c:v>CW49</c:v>
                </c:pt>
                <c:pt idx="33">
                  <c:v>CW50</c:v>
                </c:pt>
                <c:pt idx="34">
                  <c:v>CW51</c:v>
                </c:pt>
                <c:pt idx="35">
                  <c:v>CW52</c:v>
                </c:pt>
                <c:pt idx="36">
                  <c:v>CW01</c:v>
                </c:pt>
                <c:pt idx="37">
                  <c:v>CW02</c:v>
                </c:pt>
              </c:strCache>
            </c:strRef>
          </c:cat>
          <c:val>
            <c:numRef>
              <c:f>Sheet1!$C$4:$C$41</c:f>
              <c:numCache>
                <c:formatCode>General</c:formatCode>
                <c:ptCount val="38"/>
                <c:pt idx="0">
                  <c:v>0</c:v>
                </c:pt>
                <c:pt idx="1">
                  <c:v>1</c:v>
                </c:pt>
                <c:pt idx="2">
                  <c:v>1</c:v>
                </c:pt>
                <c:pt idx="3">
                  <c:v>0</c:v>
                </c:pt>
                <c:pt idx="4">
                  <c:v>0</c:v>
                </c:pt>
                <c:pt idx="5">
                  <c:v>1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1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396-4064-A20A-4B0247577425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Fun</c:v>
                </c:pt>
              </c:strCache>
            </c:strRef>
          </c:tx>
          <c:spPr>
            <a:solidFill>
              <a:srgbClr val="898989"/>
            </a:solidFill>
            <a:ln>
              <a:noFill/>
            </a:ln>
            <a:effectLst/>
          </c:spPr>
          <c:invertIfNegative val="0"/>
          <c:cat>
            <c:strRef>
              <c:f>Sheet1!$A$4:$A$41</c:f>
              <c:strCache>
                <c:ptCount val="38"/>
                <c:pt idx="0">
                  <c:v>CW17</c:v>
                </c:pt>
                <c:pt idx="1">
                  <c:v>CW18</c:v>
                </c:pt>
                <c:pt idx="2">
                  <c:v>CW19</c:v>
                </c:pt>
                <c:pt idx="3">
                  <c:v>CW20</c:v>
                </c:pt>
                <c:pt idx="4">
                  <c:v>CW21</c:v>
                </c:pt>
                <c:pt idx="5">
                  <c:v>CW22</c:v>
                </c:pt>
                <c:pt idx="6">
                  <c:v>CW23</c:v>
                </c:pt>
                <c:pt idx="7">
                  <c:v>CW24</c:v>
                </c:pt>
                <c:pt idx="8">
                  <c:v>CW25</c:v>
                </c:pt>
                <c:pt idx="9">
                  <c:v>CW26</c:v>
                </c:pt>
                <c:pt idx="10">
                  <c:v>CW27</c:v>
                </c:pt>
                <c:pt idx="11">
                  <c:v>CW28</c:v>
                </c:pt>
                <c:pt idx="12">
                  <c:v>CW29</c:v>
                </c:pt>
                <c:pt idx="13">
                  <c:v>CW30</c:v>
                </c:pt>
                <c:pt idx="14">
                  <c:v>CW31</c:v>
                </c:pt>
                <c:pt idx="15">
                  <c:v>CW32</c:v>
                </c:pt>
                <c:pt idx="16">
                  <c:v>CW33</c:v>
                </c:pt>
                <c:pt idx="17">
                  <c:v>CW34</c:v>
                </c:pt>
                <c:pt idx="18">
                  <c:v>CW35</c:v>
                </c:pt>
                <c:pt idx="19">
                  <c:v>CW36</c:v>
                </c:pt>
                <c:pt idx="20">
                  <c:v>CW37</c:v>
                </c:pt>
                <c:pt idx="21">
                  <c:v>CW38</c:v>
                </c:pt>
                <c:pt idx="22">
                  <c:v>CW39</c:v>
                </c:pt>
                <c:pt idx="23">
                  <c:v>CW40</c:v>
                </c:pt>
                <c:pt idx="24">
                  <c:v>CW41</c:v>
                </c:pt>
                <c:pt idx="25">
                  <c:v>CW42</c:v>
                </c:pt>
                <c:pt idx="26">
                  <c:v>CW43</c:v>
                </c:pt>
                <c:pt idx="27">
                  <c:v>CW44</c:v>
                </c:pt>
                <c:pt idx="28">
                  <c:v>CW45</c:v>
                </c:pt>
                <c:pt idx="29">
                  <c:v>CW46</c:v>
                </c:pt>
                <c:pt idx="30">
                  <c:v>CW47</c:v>
                </c:pt>
                <c:pt idx="31">
                  <c:v>CW48</c:v>
                </c:pt>
                <c:pt idx="32">
                  <c:v>CW49</c:v>
                </c:pt>
                <c:pt idx="33">
                  <c:v>CW50</c:v>
                </c:pt>
                <c:pt idx="34">
                  <c:v>CW51</c:v>
                </c:pt>
                <c:pt idx="35">
                  <c:v>CW52</c:v>
                </c:pt>
                <c:pt idx="36">
                  <c:v>CW01</c:v>
                </c:pt>
                <c:pt idx="37">
                  <c:v>CW02</c:v>
                </c:pt>
              </c:strCache>
            </c:strRef>
          </c:cat>
          <c:val>
            <c:numRef>
              <c:f>Sheet1!$D$4:$D$41</c:f>
              <c:numCache>
                <c:formatCode>General</c:formatCode>
                <c:ptCount val="3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3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1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396-4064-A20A-4B0247577425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Beauty</c:v>
                </c:pt>
              </c:strCache>
            </c:strRef>
          </c:tx>
          <c:spPr>
            <a:solidFill>
              <a:srgbClr val="9B5060"/>
            </a:solidFill>
            <a:ln>
              <a:noFill/>
            </a:ln>
            <a:effectLst/>
          </c:spPr>
          <c:invertIfNegative val="0"/>
          <c:cat>
            <c:strRef>
              <c:f>Sheet1!$A$4:$A$41</c:f>
              <c:strCache>
                <c:ptCount val="38"/>
                <c:pt idx="0">
                  <c:v>CW17</c:v>
                </c:pt>
                <c:pt idx="1">
                  <c:v>CW18</c:v>
                </c:pt>
                <c:pt idx="2">
                  <c:v>CW19</c:v>
                </c:pt>
                <c:pt idx="3">
                  <c:v>CW20</c:v>
                </c:pt>
                <c:pt idx="4">
                  <c:v>CW21</c:v>
                </c:pt>
                <c:pt idx="5">
                  <c:v>CW22</c:v>
                </c:pt>
                <c:pt idx="6">
                  <c:v>CW23</c:v>
                </c:pt>
                <c:pt idx="7">
                  <c:v>CW24</c:v>
                </c:pt>
                <c:pt idx="8">
                  <c:v>CW25</c:v>
                </c:pt>
                <c:pt idx="9">
                  <c:v>CW26</c:v>
                </c:pt>
                <c:pt idx="10">
                  <c:v>CW27</c:v>
                </c:pt>
                <c:pt idx="11">
                  <c:v>CW28</c:v>
                </c:pt>
                <c:pt idx="12">
                  <c:v>CW29</c:v>
                </c:pt>
                <c:pt idx="13">
                  <c:v>CW30</c:v>
                </c:pt>
                <c:pt idx="14">
                  <c:v>CW31</c:v>
                </c:pt>
                <c:pt idx="15">
                  <c:v>CW32</c:v>
                </c:pt>
                <c:pt idx="16">
                  <c:v>CW33</c:v>
                </c:pt>
                <c:pt idx="17">
                  <c:v>CW34</c:v>
                </c:pt>
                <c:pt idx="18">
                  <c:v>CW35</c:v>
                </c:pt>
                <c:pt idx="19">
                  <c:v>CW36</c:v>
                </c:pt>
                <c:pt idx="20">
                  <c:v>CW37</c:v>
                </c:pt>
                <c:pt idx="21">
                  <c:v>CW38</c:v>
                </c:pt>
                <c:pt idx="22">
                  <c:v>CW39</c:v>
                </c:pt>
                <c:pt idx="23">
                  <c:v>CW40</c:v>
                </c:pt>
                <c:pt idx="24">
                  <c:v>CW41</c:v>
                </c:pt>
                <c:pt idx="25">
                  <c:v>CW42</c:v>
                </c:pt>
                <c:pt idx="26">
                  <c:v>CW43</c:v>
                </c:pt>
                <c:pt idx="27">
                  <c:v>CW44</c:v>
                </c:pt>
                <c:pt idx="28">
                  <c:v>CW45</c:v>
                </c:pt>
                <c:pt idx="29">
                  <c:v>CW46</c:v>
                </c:pt>
                <c:pt idx="30">
                  <c:v>CW47</c:v>
                </c:pt>
                <c:pt idx="31">
                  <c:v>CW48</c:v>
                </c:pt>
                <c:pt idx="32">
                  <c:v>CW49</c:v>
                </c:pt>
                <c:pt idx="33">
                  <c:v>CW50</c:v>
                </c:pt>
                <c:pt idx="34">
                  <c:v>CW51</c:v>
                </c:pt>
                <c:pt idx="35">
                  <c:v>CW52</c:v>
                </c:pt>
                <c:pt idx="36">
                  <c:v>CW01</c:v>
                </c:pt>
                <c:pt idx="37">
                  <c:v>CW02</c:v>
                </c:pt>
              </c:strCache>
            </c:strRef>
          </c:cat>
          <c:val>
            <c:numRef>
              <c:f>Sheet1!$E$4:$E$41</c:f>
              <c:numCache>
                <c:formatCode>General</c:formatCode>
                <c:ptCount val="3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1</c:v>
                </c:pt>
                <c:pt idx="11">
                  <c:v>0</c:v>
                </c:pt>
                <c:pt idx="12">
                  <c:v>1</c:v>
                </c:pt>
                <c:pt idx="13">
                  <c:v>0</c:v>
                </c:pt>
                <c:pt idx="14">
                  <c:v>0</c:v>
                </c:pt>
                <c:pt idx="15">
                  <c:v>1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396-4064-A20A-4B0247577425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Fitness</c:v>
                </c:pt>
              </c:strCache>
            </c:strRef>
          </c:tx>
          <c:spPr>
            <a:solidFill>
              <a:srgbClr val="E0E0E0"/>
            </a:solidFill>
            <a:ln>
              <a:noFill/>
            </a:ln>
            <a:effectLst/>
          </c:spPr>
          <c:invertIfNegative val="0"/>
          <c:cat>
            <c:strRef>
              <c:f>Sheet1!$A$4:$A$41</c:f>
              <c:strCache>
                <c:ptCount val="38"/>
                <c:pt idx="0">
                  <c:v>CW17</c:v>
                </c:pt>
                <c:pt idx="1">
                  <c:v>CW18</c:v>
                </c:pt>
                <c:pt idx="2">
                  <c:v>CW19</c:v>
                </c:pt>
                <c:pt idx="3">
                  <c:v>CW20</c:v>
                </c:pt>
                <c:pt idx="4">
                  <c:v>CW21</c:v>
                </c:pt>
                <c:pt idx="5">
                  <c:v>CW22</c:v>
                </c:pt>
                <c:pt idx="6">
                  <c:v>CW23</c:v>
                </c:pt>
                <c:pt idx="7">
                  <c:v>CW24</c:v>
                </c:pt>
                <c:pt idx="8">
                  <c:v>CW25</c:v>
                </c:pt>
                <c:pt idx="9">
                  <c:v>CW26</c:v>
                </c:pt>
                <c:pt idx="10">
                  <c:v>CW27</c:v>
                </c:pt>
                <c:pt idx="11">
                  <c:v>CW28</c:v>
                </c:pt>
                <c:pt idx="12">
                  <c:v>CW29</c:v>
                </c:pt>
                <c:pt idx="13">
                  <c:v>CW30</c:v>
                </c:pt>
                <c:pt idx="14">
                  <c:v>CW31</c:v>
                </c:pt>
                <c:pt idx="15">
                  <c:v>CW32</c:v>
                </c:pt>
                <c:pt idx="16">
                  <c:v>CW33</c:v>
                </c:pt>
                <c:pt idx="17">
                  <c:v>CW34</c:v>
                </c:pt>
                <c:pt idx="18">
                  <c:v>CW35</c:v>
                </c:pt>
                <c:pt idx="19">
                  <c:v>CW36</c:v>
                </c:pt>
                <c:pt idx="20">
                  <c:v>CW37</c:v>
                </c:pt>
                <c:pt idx="21">
                  <c:v>CW38</c:v>
                </c:pt>
                <c:pt idx="22">
                  <c:v>CW39</c:v>
                </c:pt>
                <c:pt idx="23">
                  <c:v>CW40</c:v>
                </c:pt>
                <c:pt idx="24">
                  <c:v>CW41</c:v>
                </c:pt>
                <c:pt idx="25">
                  <c:v>CW42</c:v>
                </c:pt>
                <c:pt idx="26">
                  <c:v>CW43</c:v>
                </c:pt>
                <c:pt idx="27">
                  <c:v>CW44</c:v>
                </c:pt>
                <c:pt idx="28">
                  <c:v>CW45</c:v>
                </c:pt>
                <c:pt idx="29">
                  <c:v>CW46</c:v>
                </c:pt>
                <c:pt idx="30">
                  <c:v>CW47</c:v>
                </c:pt>
                <c:pt idx="31">
                  <c:v>CW48</c:v>
                </c:pt>
                <c:pt idx="32">
                  <c:v>CW49</c:v>
                </c:pt>
                <c:pt idx="33">
                  <c:v>CW50</c:v>
                </c:pt>
                <c:pt idx="34">
                  <c:v>CW51</c:v>
                </c:pt>
                <c:pt idx="35">
                  <c:v>CW52</c:v>
                </c:pt>
                <c:pt idx="36">
                  <c:v>CW01</c:v>
                </c:pt>
                <c:pt idx="37">
                  <c:v>CW02</c:v>
                </c:pt>
              </c:strCache>
            </c:strRef>
          </c:cat>
          <c:val>
            <c:numRef>
              <c:f>Sheet1!$F$4:$F$41</c:f>
              <c:numCache>
                <c:formatCode>General</c:formatCode>
                <c:ptCount val="3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396-4064-A20A-4B024757742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14927232"/>
        <c:axId val="214947328"/>
      </c:barChart>
      <c:lineChart>
        <c:grouping val="standard"/>
        <c:varyColors val="0"/>
        <c:ser>
          <c:idx val="5"/>
          <c:order val="5"/>
          <c:tx>
            <c:strRef>
              <c:f>Sheet1!$G$1</c:f>
              <c:strCache>
                <c:ptCount val="1"/>
                <c:pt idx="0">
                  <c:v>Average Weekly Selected Time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4:$A$41</c:f>
              <c:strCache>
                <c:ptCount val="38"/>
                <c:pt idx="0">
                  <c:v>CW17</c:v>
                </c:pt>
                <c:pt idx="1">
                  <c:v>CW18</c:v>
                </c:pt>
                <c:pt idx="2">
                  <c:v>CW19</c:v>
                </c:pt>
                <c:pt idx="3">
                  <c:v>CW20</c:v>
                </c:pt>
                <c:pt idx="4">
                  <c:v>CW21</c:v>
                </c:pt>
                <c:pt idx="5">
                  <c:v>CW22</c:v>
                </c:pt>
                <c:pt idx="6">
                  <c:v>CW23</c:v>
                </c:pt>
                <c:pt idx="7">
                  <c:v>CW24</c:v>
                </c:pt>
                <c:pt idx="8">
                  <c:v>CW25</c:v>
                </c:pt>
                <c:pt idx="9">
                  <c:v>CW26</c:v>
                </c:pt>
                <c:pt idx="10">
                  <c:v>CW27</c:v>
                </c:pt>
                <c:pt idx="11">
                  <c:v>CW28</c:v>
                </c:pt>
                <c:pt idx="12">
                  <c:v>CW29</c:v>
                </c:pt>
                <c:pt idx="13">
                  <c:v>CW30</c:v>
                </c:pt>
                <c:pt idx="14">
                  <c:v>CW31</c:v>
                </c:pt>
                <c:pt idx="15">
                  <c:v>CW32</c:v>
                </c:pt>
                <c:pt idx="16">
                  <c:v>CW33</c:v>
                </c:pt>
                <c:pt idx="17">
                  <c:v>CW34</c:v>
                </c:pt>
                <c:pt idx="18">
                  <c:v>CW35</c:v>
                </c:pt>
                <c:pt idx="19">
                  <c:v>CW36</c:v>
                </c:pt>
                <c:pt idx="20">
                  <c:v>CW37</c:v>
                </c:pt>
                <c:pt idx="21">
                  <c:v>CW38</c:v>
                </c:pt>
                <c:pt idx="22">
                  <c:v>CW39</c:v>
                </c:pt>
                <c:pt idx="23">
                  <c:v>CW40</c:v>
                </c:pt>
                <c:pt idx="24">
                  <c:v>CW41</c:v>
                </c:pt>
                <c:pt idx="25">
                  <c:v>CW42</c:v>
                </c:pt>
                <c:pt idx="26">
                  <c:v>CW43</c:v>
                </c:pt>
                <c:pt idx="27">
                  <c:v>CW44</c:v>
                </c:pt>
                <c:pt idx="28">
                  <c:v>CW45</c:v>
                </c:pt>
                <c:pt idx="29">
                  <c:v>CW46</c:v>
                </c:pt>
                <c:pt idx="30">
                  <c:v>CW47</c:v>
                </c:pt>
                <c:pt idx="31">
                  <c:v>CW48</c:v>
                </c:pt>
                <c:pt idx="32">
                  <c:v>CW49</c:v>
                </c:pt>
                <c:pt idx="33">
                  <c:v>CW50</c:v>
                </c:pt>
                <c:pt idx="34">
                  <c:v>CW51</c:v>
                </c:pt>
                <c:pt idx="35">
                  <c:v>CW52</c:v>
                </c:pt>
                <c:pt idx="36">
                  <c:v>CW01</c:v>
                </c:pt>
                <c:pt idx="37">
                  <c:v>CW02</c:v>
                </c:pt>
              </c:strCache>
            </c:strRef>
          </c:cat>
          <c:val>
            <c:numRef>
              <c:f>Sheet1!$G$4:$G$41</c:f>
              <c:numCache>
                <c:formatCode>0</c:formatCode>
                <c:ptCount val="38"/>
                <c:pt idx="0">
                  <c:v>2.6666666666666665</c:v>
                </c:pt>
                <c:pt idx="1">
                  <c:v>2.25</c:v>
                </c:pt>
                <c:pt idx="2">
                  <c:v>2</c:v>
                </c:pt>
                <c:pt idx="3">
                  <c:v>1.6666666666666667</c:v>
                </c:pt>
                <c:pt idx="4">
                  <c:v>1.4285714285714286</c:v>
                </c:pt>
                <c:pt idx="5">
                  <c:v>1.375</c:v>
                </c:pt>
                <c:pt idx="6">
                  <c:v>1.3333333333333333</c:v>
                </c:pt>
                <c:pt idx="7">
                  <c:v>2.1</c:v>
                </c:pt>
                <c:pt idx="8">
                  <c:v>2.0909090909090908</c:v>
                </c:pt>
                <c:pt idx="9">
                  <c:v>1.9166666666666667</c:v>
                </c:pt>
                <c:pt idx="10">
                  <c:v>1.8461538461538463</c:v>
                </c:pt>
                <c:pt idx="11">
                  <c:v>1.7142857142857142</c:v>
                </c:pt>
                <c:pt idx="12">
                  <c:v>1.7333333333333334</c:v>
                </c:pt>
                <c:pt idx="13">
                  <c:v>1.625</c:v>
                </c:pt>
                <c:pt idx="14">
                  <c:v>1.5294117647058822</c:v>
                </c:pt>
                <c:pt idx="15">
                  <c:v>1.5555555555555556</c:v>
                </c:pt>
                <c:pt idx="16">
                  <c:v>1.4736842105263157</c:v>
                </c:pt>
                <c:pt idx="17">
                  <c:v>1.4</c:v>
                </c:pt>
                <c:pt idx="18">
                  <c:v>1.3333333333333333</c:v>
                </c:pt>
                <c:pt idx="19">
                  <c:v>1.2727272727272727</c:v>
                </c:pt>
                <c:pt idx="20">
                  <c:v>1.2173913043478262</c:v>
                </c:pt>
                <c:pt idx="21">
                  <c:v>1.1666666666666667</c:v>
                </c:pt>
                <c:pt idx="22">
                  <c:v>1.1200000000000001</c:v>
                </c:pt>
                <c:pt idx="23">
                  <c:v>1.0769230769230769</c:v>
                </c:pt>
                <c:pt idx="24">
                  <c:v>1.0740740740740742</c:v>
                </c:pt>
                <c:pt idx="25">
                  <c:v>1.0357142857142858</c:v>
                </c:pt>
                <c:pt idx="26">
                  <c:v>1</c:v>
                </c:pt>
                <c:pt idx="27">
                  <c:v>0.96666666666666667</c:v>
                </c:pt>
                <c:pt idx="28">
                  <c:v>0.93548387096774188</c:v>
                </c:pt>
                <c:pt idx="29">
                  <c:v>0.90625</c:v>
                </c:pt>
                <c:pt idx="30">
                  <c:v>0.87878787878787878</c:v>
                </c:pt>
                <c:pt idx="31">
                  <c:v>0.8529411764705882</c:v>
                </c:pt>
                <c:pt idx="32">
                  <c:v>0.82857142857142863</c:v>
                </c:pt>
                <c:pt idx="33">
                  <c:v>0.80555555555555558</c:v>
                </c:pt>
                <c:pt idx="34">
                  <c:v>0.78378378378378377</c:v>
                </c:pt>
                <c:pt idx="35">
                  <c:v>0.76315789473684215</c:v>
                </c:pt>
                <c:pt idx="36">
                  <c:v>0.74358974358974361</c:v>
                </c:pt>
                <c:pt idx="37">
                  <c:v>0.724999999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396-4064-A20A-4B024757742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5616128"/>
        <c:axId val="214991232"/>
      </c:lineChart>
      <c:dateAx>
        <c:axId val="214927232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 </a:t>
                </a: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0" vertOverflow="ellipsis" vert="horz" wrap="square" anchor="ctr" anchorCtr="1" forceAA="0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14947328"/>
        <c:crosses val="autoZero"/>
        <c:auto val="0"/>
        <c:lblOffset val="100"/>
        <c:baseTimeUnit val="days"/>
      </c:dateAx>
      <c:valAx>
        <c:axId val="2149473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1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14927232"/>
        <c:crosses val="autoZero"/>
        <c:crossBetween val="between"/>
      </c:valAx>
      <c:catAx>
        <c:axId val="21561612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14991232"/>
        <c:crosses val="autoZero"/>
        <c:auto val="1"/>
        <c:lblAlgn val="ctr"/>
        <c:lblOffset val="100"/>
        <c:noMultiLvlLbl val="0"/>
      </c:catAx>
      <c:valAx>
        <c:axId val="214991232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15616128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5.4518523606278103E-2"/>
          <c:y val="0.847384307224755"/>
          <c:w val="0.90973386150913904"/>
          <c:h val="0.13507183312612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 b="0" i="0" baseline="0" dirty="0">
                <a:effectLst/>
                <a:latin typeface="+mn-lt"/>
              </a:rPr>
              <a:t>Average Daily Selected Times</a:t>
            </a:r>
            <a:endParaRPr lang="en-US" dirty="0">
              <a:effectLst/>
              <a:latin typeface="+mn-lt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8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0.14676004350612601"/>
          <c:y val="0.126498595570291"/>
          <c:w val="0.76982477542419869"/>
          <c:h val="0.5698158124971219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G$1</c:f>
              <c:strCache>
                <c:ptCount val="1"/>
                <c:pt idx="0">
                  <c:v>Average Daily Food 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cat>
            <c:strRef>
              <c:f>Sheet1!$A$2:$A$41</c:f>
              <c:strCache>
                <c:ptCount val="4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</c:strCache>
            </c:strRef>
          </c:cat>
          <c:val>
            <c:numRef>
              <c:f>Sheet1!$G$2:$G$41</c:f>
              <c:numCache>
                <c:formatCode>0.00</c:formatCode>
                <c:ptCount val="40"/>
                <c:pt idx="0">
                  <c:v>1</c:v>
                </c:pt>
                <c:pt idx="1">
                  <c:v>0.14285714285714285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.14285714285714285</c:v>
                </c:pt>
                <c:pt idx="9">
                  <c:v>0.7142857142857143</c:v>
                </c:pt>
                <c:pt idx="10">
                  <c:v>0.14285714285714285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.14285714285714285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56A-4D00-A83B-4F05F51C2AA5}"/>
            </c:ext>
          </c:extLst>
        </c:ser>
        <c:ser>
          <c:idx val="1"/>
          <c:order val="1"/>
          <c:tx>
            <c:strRef>
              <c:f>Sheet1!$H$1</c:f>
              <c:strCache>
                <c:ptCount val="1"/>
                <c:pt idx="0">
                  <c:v>Average Daily Shopping</c:v>
                </c:pt>
              </c:strCache>
            </c:strRef>
          </c:tx>
          <c:spPr>
            <a:solidFill>
              <a:srgbClr val="4C4C4C"/>
            </a:solidFill>
            <a:ln>
              <a:solidFill>
                <a:srgbClr val="4C4C4C"/>
              </a:solidFill>
            </a:ln>
            <a:effectLst/>
          </c:spPr>
          <c:invertIfNegative val="0"/>
          <c:cat>
            <c:strRef>
              <c:f>Sheet1!$A$2:$A$41</c:f>
              <c:strCache>
                <c:ptCount val="4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</c:strCache>
            </c:strRef>
          </c:cat>
          <c:val>
            <c:numRef>
              <c:f>Sheet1!$H$2:$H$41</c:f>
              <c:numCache>
                <c:formatCode>0.00</c:formatCode>
                <c:ptCount val="40"/>
                <c:pt idx="0">
                  <c:v>0</c:v>
                </c:pt>
                <c:pt idx="1">
                  <c:v>0.42857142857142855</c:v>
                </c:pt>
                <c:pt idx="2">
                  <c:v>0</c:v>
                </c:pt>
                <c:pt idx="3">
                  <c:v>0.14285714285714285</c:v>
                </c:pt>
                <c:pt idx="4">
                  <c:v>0.14285714285714285</c:v>
                </c:pt>
                <c:pt idx="5">
                  <c:v>0</c:v>
                </c:pt>
                <c:pt idx="6">
                  <c:v>0</c:v>
                </c:pt>
                <c:pt idx="7">
                  <c:v>0.14285714285714285</c:v>
                </c:pt>
                <c:pt idx="8">
                  <c:v>0</c:v>
                </c:pt>
                <c:pt idx="9">
                  <c:v>0.14285714285714285</c:v>
                </c:pt>
                <c:pt idx="10">
                  <c:v>0.14285714285714285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.14285714285714285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56A-4D00-A83B-4F05F51C2AA5}"/>
            </c:ext>
          </c:extLst>
        </c:ser>
        <c:ser>
          <c:idx val="2"/>
          <c:order val="2"/>
          <c:tx>
            <c:strRef>
              <c:f>Sheet1!$I$1</c:f>
              <c:strCache>
                <c:ptCount val="1"/>
                <c:pt idx="0">
                  <c:v>Average Daily Fun </c:v>
                </c:pt>
              </c:strCache>
            </c:strRef>
          </c:tx>
          <c:spPr>
            <a:solidFill>
              <a:srgbClr val="898989"/>
            </a:solidFill>
            <a:ln>
              <a:noFill/>
            </a:ln>
            <a:effectLst/>
          </c:spPr>
          <c:invertIfNegative val="0"/>
          <c:cat>
            <c:strRef>
              <c:f>Sheet1!$A$2:$A$41</c:f>
              <c:strCache>
                <c:ptCount val="4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</c:strCache>
            </c:strRef>
          </c:cat>
          <c:val>
            <c:numRef>
              <c:f>Sheet1!$I$2:$I$41</c:f>
              <c:numCache>
                <c:formatCode>0.00</c:formatCode>
                <c:ptCount val="40"/>
                <c:pt idx="0">
                  <c:v>0.5</c:v>
                </c:pt>
                <c:pt idx="1">
                  <c:v>0.14285714285714285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.42857142857142855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.14285714285714285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56A-4D00-A83B-4F05F51C2AA5}"/>
            </c:ext>
          </c:extLst>
        </c:ser>
        <c:ser>
          <c:idx val="3"/>
          <c:order val="3"/>
          <c:tx>
            <c:strRef>
              <c:f>Sheet1!$J$1</c:f>
              <c:strCache>
                <c:ptCount val="1"/>
                <c:pt idx="0">
                  <c:v>Average Daily Beauty</c:v>
                </c:pt>
              </c:strCache>
            </c:strRef>
          </c:tx>
          <c:spPr>
            <a:solidFill>
              <a:srgbClr val="9B5060"/>
            </a:solidFill>
            <a:ln>
              <a:noFill/>
            </a:ln>
            <a:effectLst/>
          </c:spPr>
          <c:invertIfNegative val="0"/>
          <c:cat>
            <c:strRef>
              <c:f>Sheet1!$A$2:$A$41</c:f>
              <c:strCache>
                <c:ptCount val="4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</c:strCache>
            </c:strRef>
          </c:cat>
          <c:val>
            <c:numRef>
              <c:f>Sheet1!$J$2:$J$41</c:f>
              <c:numCache>
                <c:formatCode>0.00</c:formatCode>
                <c:ptCount val="4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.14285714285714285</c:v>
                </c:pt>
                <c:pt idx="13">
                  <c:v>0</c:v>
                </c:pt>
                <c:pt idx="14">
                  <c:v>0.14285714285714285</c:v>
                </c:pt>
                <c:pt idx="15">
                  <c:v>0</c:v>
                </c:pt>
                <c:pt idx="16">
                  <c:v>0</c:v>
                </c:pt>
                <c:pt idx="17">
                  <c:v>0.14285714285714285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56A-4D00-A83B-4F05F51C2AA5}"/>
            </c:ext>
          </c:extLst>
        </c:ser>
        <c:ser>
          <c:idx val="4"/>
          <c:order val="4"/>
          <c:tx>
            <c:strRef>
              <c:f>Sheet1!$K$1</c:f>
              <c:strCache>
                <c:ptCount val="1"/>
                <c:pt idx="0">
                  <c:v>Average Daily Fitness</c:v>
                </c:pt>
              </c:strCache>
            </c:strRef>
          </c:tx>
          <c:spPr>
            <a:solidFill>
              <a:srgbClr val="E0E0E0"/>
            </a:solidFill>
            <a:ln>
              <a:noFill/>
            </a:ln>
            <a:effectLst/>
          </c:spPr>
          <c:invertIfNegative val="0"/>
          <c:cat>
            <c:strRef>
              <c:f>Sheet1!$A$2:$A$41</c:f>
              <c:strCache>
                <c:ptCount val="4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</c:strCache>
            </c:strRef>
          </c:cat>
          <c:val>
            <c:numRef>
              <c:f>Sheet1!$K$2:$K$41</c:f>
              <c:numCache>
                <c:formatCode>0.00</c:formatCode>
                <c:ptCount val="4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56A-4D00-A83B-4F05F51C2AA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5"/>
        <c:overlap val="100"/>
        <c:axId val="216661376"/>
        <c:axId val="216729472"/>
      </c:barChart>
      <c:lineChart>
        <c:grouping val="standard"/>
        <c:varyColors val="0"/>
        <c:ser>
          <c:idx val="5"/>
          <c:order val="5"/>
          <c:tx>
            <c:strRef>
              <c:f>Sheet1!$L$1</c:f>
              <c:strCache>
                <c:ptCount val="1"/>
                <c:pt idx="0">
                  <c:v>Average Daily Selected Time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A56A-4D00-A83B-4F05F51C2AA5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A56A-4D00-A83B-4F05F51C2AA5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A56A-4D00-A83B-4F05F51C2AA5}"/>
                </c:ext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A56A-4D00-A83B-4F05F51C2AA5}"/>
                </c:ext>
              </c:extLst>
            </c:dLbl>
            <c:dLbl>
              <c:idx val="1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A56A-4D00-A83B-4F05F51C2AA5}"/>
                </c:ext>
              </c:extLst>
            </c:dLbl>
            <c:dLbl>
              <c:idx val="1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A56A-4D00-A83B-4F05F51C2AA5}"/>
                </c:ext>
              </c:extLst>
            </c:dLbl>
            <c:dLbl>
              <c:idx val="1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A56A-4D00-A83B-4F05F51C2AA5}"/>
                </c:ext>
              </c:extLst>
            </c:dLbl>
            <c:dLbl>
              <c:idx val="1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A56A-4D00-A83B-4F05F51C2AA5}"/>
                </c:ext>
              </c:extLst>
            </c:dLbl>
            <c:dLbl>
              <c:idx val="1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52C0-418E-80F8-921CEC7EE4BC}"/>
                </c:ext>
              </c:extLst>
            </c:dLbl>
            <c:dLbl>
              <c:idx val="2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2C0-418E-80F8-921CEC7EE4BC}"/>
                </c:ext>
              </c:extLst>
            </c:dLbl>
            <c:dLbl>
              <c:idx val="2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52C0-418E-80F8-921CEC7EE4BC}"/>
                </c:ext>
              </c:extLst>
            </c:dLbl>
            <c:dLbl>
              <c:idx val="2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52C0-418E-80F8-921CEC7EE4BC}"/>
                </c:ext>
              </c:extLst>
            </c:dLbl>
            <c:dLbl>
              <c:idx val="2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52C0-418E-80F8-921CEC7EE4BC}"/>
                </c:ext>
              </c:extLst>
            </c:dLbl>
            <c:dLbl>
              <c:idx val="2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52C0-418E-80F8-921CEC7EE4BC}"/>
                </c:ext>
              </c:extLst>
            </c:dLbl>
            <c:dLbl>
              <c:idx val="2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52C0-418E-80F8-921CEC7EE4BC}"/>
                </c:ext>
              </c:extLst>
            </c:dLbl>
            <c:dLbl>
              <c:idx val="2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1583-4359-8E9A-E5D7FC8AF566}"/>
                </c:ext>
              </c:extLst>
            </c:dLbl>
            <c:dLbl>
              <c:idx val="2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583-4359-8E9A-E5D7FC8AF566}"/>
                </c:ext>
              </c:extLst>
            </c:dLbl>
            <c:dLbl>
              <c:idx val="2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A94B-4E58-ACC1-45D3969CD6C5}"/>
                </c:ext>
              </c:extLst>
            </c:dLbl>
            <c:dLbl>
              <c:idx val="3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A94B-4E58-ACC1-45D3969CD6C5}"/>
                </c:ext>
              </c:extLst>
            </c:dLbl>
            <c:dLbl>
              <c:idx val="3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94B-4E58-ACC1-45D3969CD6C5}"/>
                </c:ext>
              </c:extLst>
            </c:dLbl>
            <c:dLbl>
              <c:idx val="3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A94B-4E58-ACC1-45D3969CD6C5}"/>
                </c:ext>
              </c:extLst>
            </c:dLbl>
            <c:dLbl>
              <c:idx val="3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A94B-4E58-ACC1-45D3969CD6C5}"/>
                </c:ext>
              </c:extLst>
            </c:dLbl>
            <c:dLbl>
              <c:idx val="3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13D0-45B0-A504-F6E1BB03519A}"/>
                </c:ext>
              </c:extLst>
            </c:dLbl>
            <c:dLbl>
              <c:idx val="3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13D0-45B0-A504-F6E1BB03519A}"/>
                </c:ext>
              </c:extLst>
            </c:dLbl>
            <c:dLbl>
              <c:idx val="3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3D0-45B0-A504-F6E1BB03519A}"/>
                </c:ext>
              </c:extLst>
            </c:dLbl>
            <c:dLbl>
              <c:idx val="3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EE40-4D20-BF43-9B93A03C964A}"/>
                </c:ext>
              </c:extLst>
            </c:dLbl>
            <c:dLbl>
              <c:idx val="3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EE40-4D20-BF43-9B93A03C964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1</c:f>
              <c:strCache>
                <c:ptCount val="4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</c:strCache>
            </c:strRef>
          </c:cat>
          <c:val>
            <c:numRef>
              <c:f>Sheet1!$L$2:$L$41</c:f>
              <c:numCache>
                <c:formatCode>0.00</c:formatCode>
                <c:ptCount val="40"/>
                <c:pt idx="0">
                  <c:v>1.5</c:v>
                </c:pt>
                <c:pt idx="1">
                  <c:v>0.71428571428571419</c:v>
                </c:pt>
                <c:pt idx="2">
                  <c:v>0</c:v>
                </c:pt>
                <c:pt idx="3">
                  <c:v>0.14285714285714285</c:v>
                </c:pt>
                <c:pt idx="4">
                  <c:v>0.14285714285714285</c:v>
                </c:pt>
                <c:pt idx="5">
                  <c:v>0</c:v>
                </c:pt>
                <c:pt idx="6">
                  <c:v>0</c:v>
                </c:pt>
                <c:pt idx="7">
                  <c:v>0.14285714285714285</c:v>
                </c:pt>
                <c:pt idx="8">
                  <c:v>0.14285714285714285</c:v>
                </c:pt>
                <c:pt idx="9">
                  <c:v>1.2857142857142858</c:v>
                </c:pt>
                <c:pt idx="10">
                  <c:v>0.2857142857142857</c:v>
                </c:pt>
                <c:pt idx="11">
                  <c:v>0</c:v>
                </c:pt>
                <c:pt idx="12">
                  <c:v>0.14285714285714285</c:v>
                </c:pt>
                <c:pt idx="13">
                  <c:v>0</c:v>
                </c:pt>
                <c:pt idx="14">
                  <c:v>0.2857142857142857</c:v>
                </c:pt>
                <c:pt idx="15">
                  <c:v>0</c:v>
                </c:pt>
                <c:pt idx="16">
                  <c:v>0</c:v>
                </c:pt>
                <c:pt idx="17">
                  <c:v>0.2857142857142857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.14285714285714285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E-A56A-4D00-A83B-4F05F51C2AA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6898560"/>
        <c:axId val="216897024"/>
      </c:lineChart>
      <c:dateAx>
        <c:axId val="216661376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330" b="0" i="0" u="none" strike="noStrike" baseline="0" dirty="0">
                    <a:effectLst/>
                  </a:rPr>
                  <a:t>2019-2020 </a:t>
                </a:r>
                <a:r>
                  <a:rPr lang="en-US" sz="1200" dirty="0"/>
                  <a:t>Calendar Week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0" vertOverflow="ellipsis" vert="horz" wrap="square" anchor="ctr" anchorCtr="1" forceAA="0"/>
            <a:lstStyle/>
            <a:p>
              <a:pPr>
                <a:defRPr lang="zh-CN"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16729472"/>
        <c:crosses val="autoZero"/>
        <c:auto val="0"/>
        <c:lblOffset val="100"/>
        <c:baseTimeUnit val="days"/>
      </c:dateAx>
      <c:valAx>
        <c:axId val="2167294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Amount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16661376"/>
        <c:crosses val="autoZero"/>
        <c:crossBetween val="between"/>
      </c:valAx>
      <c:catAx>
        <c:axId val="21689856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16897024"/>
        <c:crosses val="autoZero"/>
        <c:auto val="1"/>
        <c:lblAlgn val="ctr"/>
        <c:lblOffset val="100"/>
        <c:noMultiLvlLbl val="0"/>
      </c:catAx>
      <c:valAx>
        <c:axId val="216897024"/>
        <c:scaling>
          <c:orientation val="minMax"/>
        </c:scaling>
        <c:delete val="0"/>
        <c:axPos val="r"/>
        <c:numFmt formatCode="0.0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16898560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11415104802041"/>
          <c:y val="0.80644863471013495"/>
          <c:w val="0.76403178925590198"/>
          <c:h val="0.19355136528986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zh-CN" sz="1860" b="0" i="0" u="none" strike="noStrike" kern="1200" spc="0" baseline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baseline="0" dirty="0">
                <a:effectLst/>
              </a:rPr>
              <a:t>Monthly User Preferred Charging Destination</a:t>
            </a:r>
            <a:r>
              <a:rPr lang="en-US" altLang="zh-CN" sz="1800" b="0" i="0" baseline="0" dirty="0">
                <a:solidFill>
                  <a:srgbClr val="FF0000"/>
                </a:solidFill>
                <a:effectLst/>
              </a:rPr>
              <a:t> </a:t>
            </a:r>
            <a:endParaRPr lang="zh-CN" altLang="zh-CN" sz="1800" b="0" i="0" u="none" strike="noStrike" kern="1200" spc="0" baseline="0" dirty="0">
              <a:solidFill>
                <a:srgbClr val="FF0000"/>
              </a:solidFill>
              <a:effectLst/>
              <a:latin typeface="+mn-lt"/>
              <a:ea typeface="+mn-ea"/>
              <a:cs typeface="+mn-cs"/>
            </a:endParaRPr>
          </a:p>
        </c:rich>
      </c:tx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01665810292232"/>
          <c:y val="0.167681444710715"/>
          <c:w val="0.82445175834502205"/>
          <c:h val="0.4668883373273989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ood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3</c:v>
                </c:pt>
                <c:pt idx="1">
                  <c:v>0</c:v>
                </c:pt>
                <c:pt idx="2">
                  <c:v>7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129-4C91-A439-01C4854C940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hopping</c:v>
                </c:pt>
              </c:strCache>
            </c:strRef>
          </c:tx>
          <c:spPr>
            <a:solidFill>
              <a:srgbClr val="4C4C4C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C$2:$C$11</c:f>
              <c:numCache>
                <c:formatCode>General</c:formatCode>
                <c:ptCount val="10"/>
                <c:pt idx="0">
                  <c:v>3</c:v>
                </c:pt>
                <c:pt idx="1">
                  <c:v>3</c:v>
                </c:pt>
                <c:pt idx="2">
                  <c:v>2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1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129-4C91-A439-01C4854C940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Fun</c:v>
                </c:pt>
              </c:strCache>
            </c:strRef>
          </c:tx>
          <c:spPr>
            <a:solidFill>
              <a:srgbClr val="898989"/>
            </a:solidFill>
            <a:ln>
              <a:noFill/>
            </a:ln>
            <a:effectLst/>
          </c:spPr>
          <c:invertIfNegative val="0"/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F129-4C91-A439-01C4854C9408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F129-4C91-A439-01C4854C940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D$2:$D$11</c:f>
              <c:numCache>
                <c:formatCode>General</c:formatCode>
                <c:ptCount val="10"/>
                <c:pt idx="0">
                  <c:v>2</c:v>
                </c:pt>
                <c:pt idx="1">
                  <c:v>0</c:v>
                </c:pt>
                <c:pt idx="2">
                  <c:v>3</c:v>
                </c:pt>
                <c:pt idx="3">
                  <c:v>0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129-4C91-A439-01C4854C9408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Beauty</c:v>
                </c:pt>
              </c:strCache>
            </c:strRef>
          </c:tx>
          <c:spPr>
            <a:solidFill>
              <a:schemeClr val="accent6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F129-4C91-A439-01C4854C9408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F129-4C91-A439-01C4854C9408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F129-4C91-A439-01C4854C9408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/>
                <a:lstStyle/>
                <a:p>
                  <a:pPr>
                    <a:defRPr lang="zh-CN" sz="10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8-F129-4C91-A439-01C4854C9408}"/>
                </c:ext>
              </c:extLst>
            </c:dLbl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/>
                <a:lstStyle/>
                <a:p>
                  <a:pPr>
                    <a:defRPr lang="zh-CN" sz="10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F129-4C91-A439-01C4854C9408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F129-4C91-A439-01C4854C9408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AB9-4952-A138-54128CF1BBD4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4989-4DA2-9751-8AED3B24C8EC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A71-406C-84E4-98F2E0E05A7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/>
              <a:lstStyle/>
              <a:p>
                <a:pPr>
                  <a:defRPr lang="zh-CN"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E$2:$E$11</c:f>
              <c:numCache>
                <c:formatCode>General</c:formatCode>
                <c:ptCount val="1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2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F129-4C91-A439-01C4854C9408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Fitness</c:v>
                </c:pt>
              </c:strCache>
            </c:strRef>
          </c:tx>
          <c:spPr>
            <a:solidFill>
              <a:srgbClr val="E0E0E0"/>
            </a:solidFill>
            <a:ln>
              <a:noFill/>
            </a:ln>
            <a:effectLst/>
          </c:spPr>
          <c:invertIfNegative val="0"/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F$2:$F$11</c:f>
              <c:numCache>
                <c:formatCode>General</c:formatCode>
                <c:ptCount val="1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F129-4C91-A439-01C4854C940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61302528"/>
        <c:axId val="261375488"/>
      </c:barChart>
      <c:lineChart>
        <c:grouping val="standard"/>
        <c:varyColors val="0"/>
        <c:ser>
          <c:idx val="5"/>
          <c:order val="5"/>
          <c:tx>
            <c:strRef>
              <c:f>Sheet1!$G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 cmpd="sng" algn="ctr">
              <a:solidFill>
                <a:srgbClr val="E2BCBF"/>
              </a:solidFill>
              <a:prstDash val="solid"/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prstDash val="solid"/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G$2:$G$11</c:f>
              <c:numCache>
                <c:formatCode>0%</c:formatCode>
                <c:ptCount val="10"/>
                <c:pt idx="0" formatCode="General">
                  <c:v>#N/A</c:v>
                </c:pt>
                <c:pt idx="1">
                  <c:v>0.375</c:v>
                </c:pt>
                <c:pt idx="2">
                  <c:v>1.0909090909090908</c:v>
                </c:pt>
                <c:pt idx="3">
                  <c:v>0.13043478260869565</c:v>
                </c:pt>
                <c:pt idx="4">
                  <c:v>7.6923076923076927E-2</c:v>
                </c:pt>
                <c:pt idx="5">
                  <c:v>0</c:v>
                </c:pt>
                <c:pt idx="6">
                  <c:v>3.5714285714285712E-2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D-F129-4C91-A439-01C4854C9408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 cmpd="sng" algn="ctr">
              <a:solidFill>
                <a:srgbClr val="898989"/>
              </a:solidFill>
              <a:prstDash val="solid"/>
              <a:round/>
            </a:ln>
            <a:effectLst/>
          </c:spPr>
          <c:marker>
            <c:symbol val="diamond"/>
            <c:size val="7"/>
            <c:spPr>
              <a:solidFill>
                <a:srgbClr val="898989"/>
              </a:solidFill>
              <a:ln w="9525" cap="flat" cmpd="sng" algn="ctr">
                <a:solidFill>
                  <a:srgbClr val="898989"/>
                </a:solidFill>
                <a:prstDash val="solid"/>
                <a:round/>
              </a:ln>
              <a:effectLst/>
            </c:spPr>
          </c:marker>
          <c:dLbls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3AB9-4952-A138-54128CF1BBD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H$2:$H$11</c:f>
              <c:numCache>
                <c:formatCode>0%</c:formatCode>
                <c:ptCount val="10"/>
                <c:pt idx="0" formatCode="General">
                  <c:v>#N/A</c:v>
                </c:pt>
                <c:pt idx="1">
                  <c:v>-0.625</c:v>
                </c:pt>
                <c:pt idx="2">
                  <c:v>3</c:v>
                </c:pt>
                <c:pt idx="3">
                  <c:v>-0.75</c:v>
                </c:pt>
                <c:pt idx="4">
                  <c:v>-0.33333333333333331</c:v>
                </c:pt>
                <c:pt idx="5">
                  <c:v>-1</c:v>
                </c:pt>
                <c:pt idx="6">
                  <c:v>0</c:v>
                </c:pt>
                <c:pt idx="7">
                  <c:v>-1</c:v>
                </c:pt>
                <c:pt idx="8">
                  <c:v>0</c:v>
                </c:pt>
                <c:pt idx="9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E-F129-4C91-A439-01C4854C940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1477504"/>
        <c:axId val="261377408"/>
      </c:lineChart>
      <c:catAx>
        <c:axId val="26130252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>
                    <a:solidFill>
                      <a:schemeClr val="tx1"/>
                    </a:solidFill>
                  </a:rPr>
                  <a:t>Month</a:t>
                </a:r>
                <a:endParaRPr lang="zh-CN" altLang="en-US" sz="1200" dirty="0">
                  <a:solidFill>
                    <a:schemeClr val="tx1"/>
                  </a:solidFill>
                </a:endParaRPr>
              </a:p>
            </c:rich>
          </c:tx>
          <c:layout>
            <c:manualLayout>
              <c:xMode val="edge"/>
              <c:yMode val="edge"/>
              <c:x val="0.40892566201627745"/>
              <c:y val="0.79841604886816142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61375488"/>
        <c:crosses val="autoZero"/>
        <c:auto val="1"/>
        <c:lblAlgn val="ctr"/>
        <c:lblOffset val="100"/>
        <c:noMultiLvlLbl val="0"/>
      </c:catAx>
      <c:valAx>
        <c:axId val="26137548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solid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Amount</a:t>
                </a:r>
                <a:endParaRPr lang="zh-CN" altLang="en-US" sz="1200" dirty="0"/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61302528"/>
        <c:crosses val="autoZero"/>
        <c:crossBetween val="between"/>
      </c:valAx>
      <c:catAx>
        <c:axId val="2614775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61377408"/>
        <c:crosses val="autoZero"/>
        <c:auto val="1"/>
        <c:lblAlgn val="ctr"/>
        <c:lblOffset val="100"/>
        <c:noMultiLvlLbl val="0"/>
      </c:catAx>
      <c:valAx>
        <c:axId val="261377408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6147750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7.8543495123687704E-2"/>
          <c:y val="0.84406979825429795"/>
          <c:w val="0.78416586815536904"/>
          <c:h val="0.1559303320780550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solidFill>
        <a:srgbClr val="4C4C4C"/>
      </a:solidFill>
    </a:ln>
    <a:effectLst/>
  </c:spPr>
  <c:txPr>
    <a:bodyPr/>
    <a:lstStyle/>
    <a:p>
      <a:pPr>
        <a:defRPr lang="zh-CN"/>
      </a:pPr>
      <a:endParaRPr lang="zh-CN"/>
    </a:p>
  </c:txPr>
  <c:externalData r:id="rId1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Weekly Recommended Times</a:t>
            </a:r>
            <a:endParaRPr lang="zh-CN" altLang="en-US" sz="1800" b="0" cap="none" baseline="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2200" b="1" i="0" u="none" strike="noStrike" kern="1200" cap="all" spc="5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6.1720020784732502E-2"/>
          <c:y val="0.15454666512274201"/>
          <c:w val="0.86472904399469297"/>
          <c:h val="0.6801208121043690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ecommended Time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1</c:f>
              <c:strCache>
                <c:ptCount val="4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</c:strCache>
            </c:strRef>
          </c:cat>
          <c:val>
            <c:numRef>
              <c:f>Sheet1!$B$2:$B$41</c:f>
              <c:numCache>
                <c:formatCode>General</c:formatCode>
                <c:ptCount val="40"/>
                <c:pt idx="0">
                  <c:v>0</c:v>
                </c:pt>
                <c:pt idx="1">
                  <c:v>5</c:v>
                </c:pt>
                <c:pt idx="2">
                  <c:v>3</c:v>
                </c:pt>
                <c:pt idx="3">
                  <c:v>2</c:v>
                </c:pt>
                <c:pt idx="4">
                  <c:v>6</c:v>
                </c:pt>
                <c:pt idx="5">
                  <c:v>0</c:v>
                </c:pt>
                <c:pt idx="6">
                  <c:v>4</c:v>
                </c:pt>
                <c:pt idx="7">
                  <c:v>2</c:v>
                </c:pt>
                <c:pt idx="8">
                  <c:v>1</c:v>
                </c:pt>
                <c:pt idx="9">
                  <c:v>11</c:v>
                </c:pt>
                <c:pt idx="10">
                  <c:v>5</c:v>
                </c:pt>
                <c:pt idx="11">
                  <c:v>2</c:v>
                </c:pt>
                <c:pt idx="12">
                  <c:v>2</c:v>
                </c:pt>
                <c:pt idx="13">
                  <c:v>1</c:v>
                </c:pt>
                <c:pt idx="14">
                  <c:v>1</c:v>
                </c:pt>
                <c:pt idx="15">
                  <c:v>0</c:v>
                </c:pt>
                <c:pt idx="16">
                  <c:v>1</c:v>
                </c:pt>
                <c:pt idx="17">
                  <c:v>0</c:v>
                </c:pt>
                <c:pt idx="18">
                  <c:v>1</c:v>
                </c:pt>
                <c:pt idx="19">
                  <c:v>2</c:v>
                </c:pt>
                <c:pt idx="20">
                  <c:v>1</c:v>
                </c:pt>
                <c:pt idx="21">
                  <c:v>1</c:v>
                </c:pt>
                <c:pt idx="22">
                  <c:v>0</c:v>
                </c:pt>
                <c:pt idx="23">
                  <c:v>0</c:v>
                </c:pt>
                <c:pt idx="24">
                  <c:v>2</c:v>
                </c:pt>
                <c:pt idx="25">
                  <c:v>2</c:v>
                </c:pt>
                <c:pt idx="26">
                  <c:v>0</c:v>
                </c:pt>
                <c:pt idx="27">
                  <c:v>0</c:v>
                </c:pt>
                <c:pt idx="28">
                  <c:v>3</c:v>
                </c:pt>
                <c:pt idx="29">
                  <c:v>3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2</c:v>
                </c:pt>
                <c:pt idx="35">
                  <c:v>0</c:v>
                </c:pt>
                <c:pt idx="36">
                  <c:v>1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F0E-4A37-A260-174BC1EF0F4C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61961216"/>
        <c:axId val="262001792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dLbl>
              <c:idx val="6"/>
              <c:layout>
                <c:manualLayout>
                  <c:x val="-5.6057597770260502E-2"/>
                  <c:y val="-1.4705882352941201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rgbClr val="8C8C8C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9109951932739903E-2"/>
                      <c:h val="3.462019453450670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7F0E-4A37-A260-174BC1EF0F4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l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1</c:f>
              <c:strCache>
                <c:ptCount val="4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</c:strCache>
            </c:strRef>
          </c:cat>
          <c:val>
            <c:numRef>
              <c:f>Sheet1!$C$2:$C$41</c:f>
              <c:numCache>
                <c:formatCode>0%</c:formatCode>
                <c:ptCount val="40"/>
                <c:pt idx="0">
                  <c:v>#N/A</c:v>
                </c:pt>
                <c:pt idx="1">
                  <c:v>#N/A</c:v>
                </c:pt>
                <c:pt idx="2" formatCode="0.00%">
                  <c:v>0.6</c:v>
                </c:pt>
                <c:pt idx="3" formatCode="0.00%">
                  <c:v>0.25</c:v>
                </c:pt>
                <c:pt idx="4" formatCode="0.00%">
                  <c:v>0.6</c:v>
                </c:pt>
                <c:pt idx="5" formatCode="0.00%">
                  <c:v>0</c:v>
                </c:pt>
                <c:pt idx="6" formatCode="0.00%">
                  <c:v>0.25</c:v>
                </c:pt>
                <c:pt idx="7" formatCode="0.00%">
                  <c:v>0.1</c:v>
                </c:pt>
                <c:pt idx="8" formatCode="0.00%">
                  <c:v>4.5454545454545456E-2</c:v>
                </c:pt>
                <c:pt idx="9" formatCode="0.00%">
                  <c:v>0.47826086956521741</c:v>
                </c:pt>
                <c:pt idx="10" formatCode="0.00%">
                  <c:v>0.14705882352941177</c:v>
                </c:pt>
                <c:pt idx="11" formatCode="0.00%">
                  <c:v>5.128205128205128E-2</c:v>
                </c:pt>
                <c:pt idx="12" formatCode="0.00%">
                  <c:v>4.878048780487805E-2</c:v>
                </c:pt>
                <c:pt idx="13" formatCode="0.00%">
                  <c:v>2.3255813953488372E-2</c:v>
                </c:pt>
                <c:pt idx="14" formatCode="0.00%">
                  <c:v>2.2727272727272728E-2</c:v>
                </c:pt>
                <c:pt idx="15" formatCode="0.00%">
                  <c:v>0</c:v>
                </c:pt>
                <c:pt idx="16" formatCode="0.00%">
                  <c:v>2.2222222222222223E-2</c:v>
                </c:pt>
                <c:pt idx="17" formatCode="0.00%">
                  <c:v>0</c:v>
                </c:pt>
                <c:pt idx="18" formatCode="0.00%">
                  <c:v>2.1739130434782608E-2</c:v>
                </c:pt>
                <c:pt idx="19" formatCode="0.00%">
                  <c:v>4.2553191489361701E-2</c:v>
                </c:pt>
                <c:pt idx="20" formatCode="0.00%">
                  <c:v>2.0408163265306121E-2</c:v>
                </c:pt>
                <c:pt idx="21" formatCode="0.00%">
                  <c:v>0.02</c:v>
                </c:pt>
                <c:pt idx="22" formatCode="0.00%">
                  <c:v>0</c:v>
                </c:pt>
                <c:pt idx="23" formatCode="0.00%">
                  <c:v>0</c:v>
                </c:pt>
                <c:pt idx="24" formatCode="0.00%">
                  <c:v>3.9215686274509803E-2</c:v>
                </c:pt>
                <c:pt idx="25" formatCode="0.00%">
                  <c:v>3.7735849056603772E-2</c:v>
                </c:pt>
                <c:pt idx="26" formatCode="0.00%">
                  <c:v>0</c:v>
                </c:pt>
                <c:pt idx="27" formatCode="0.00%">
                  <c:v>0</c:v>
                </c:pt>
                <c:pt idx="28" formatCode="0.00%">
                  <c:v>5.4545454545454543E-2</c:v>
                </c:pt>
                <c:pt idx="29" formatCode="0.00%">
                  <c:v>5.1724137931034482E-2</c:v>
                </c:pt>
                <c:pt idx="30" formatCode="0.00%">
                  <c:v>1.6393442622950821E-2</c:v>
                </c:pt>
                <c:pt idx="31" formatCode="0.00%">
                  <c:v>1.6129032258064516E-2</c:v>
                </c:pt>
                <c:pt idx="32" formatCode="0.00%">
                  <c:v>1.5873015873015872E-2</c:v>
                </c:pt>
                <c:pt idx="33" formatCode="0.00%">
                  <c:v>1.5625E-2</c:v>
                </c:pt>
                <c:pt idx="34" formatCode="0.00%">
                  <c:v>3.0769230769230771E-2</c:v>
                </c:pt>
                <c:pt idx="35" formatCode="0.00%">
                  <c:v>0</c:v>
                </c:pt>
                <c:pt idx="36" formatCode="0.00%">
                  <c:v>1.4925373134328358E-2</c:v>
                </c:pt>
                <c:pt idx="37" formatCode="0.00%">
                  <c:v>0</c:v>
                </c:pt>
                <c:pt idx="38" formatCode="0.00%">
                  <c:v>0</c:v>
                </c:pt>
                <c:pt idx="39" formatCode="0.00%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F0E-4A37-A260-174BC1EF0F4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dLbl>
              <c:idx val="6"/>
              <c:layout>
                <c:manualLayout>
                  <c:x val="-5.6057597770260502E-2"/>
                  <c:y val="4.166666666666669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7F0E-4A37-A260-174BC1EF0F4C}"/>
                </c:ext>
              </c:extLst>
            </c:dLbl>
            <c:dLbl>
              <c:idx val="12"/>
              <c:layout>
                <c:manualLayout>
                  <c:x val="-4.9539272448137099E-2"/>
                  <c:y val="2.696078431372559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7F0E-4A37-A260-174BC1EF0F4C}"/>
                </c:ext>
              </c:extLst>
            </c:dLbl>
            <c:dLbl>
              <c:idx val="14"/>
              <c:layout>
                <c:manualLayout>
                  <c:x val="-4.6931942319287802E-2"/>
                  <c:y val="2.696078431372559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7F0E-4A37-A260-174BC1EF0F4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l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1</c:f>
              <c:strCache>
                <c:ptCount val="4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</c:strCache>
            </c:strRef>
          </c:cat>
          <c:val>
            <c:numRef>
              <c:f>Sheet1!$D$2:$D$41</c:f>
              <c:numCache>
                <c:formatCode>General</c:formatCode>
                <c:ptCount val="40"/>
                <c:pt idx="0" formatCode="0%">
                  <c:v>#N/A</c:v>
                </c:pt>
                <c:pt idx="1">
                  <c:v>#N/A</c:v>
                </c:pt>
                <c:pt idx="2" formatCode="0.00%">
                  <c:v>-0.4</c:v>
                </c:pt>
                <c:pt idx="3" formatCode="0.00%">
                  <c:v>-0.33333333333333331</c:v>
                </c:pt>
                <c:pt idx="4" formatCode="0.00%">
                  <c:v>2</c:v>
                </c:pt>
                <c:pt idx="5" formatCode="0.00%">
                  <c:v>-1</c:v>
                </c:pt>
                <c:pt idx="6" formatCode="0.00%">
                  <c:v>0</c:v>
                </c:pt>
                <c:pt idx="7" formatCode="0.00%">
                  <c:v>-0.5</c:v>
                </c:pt>
                <c:pt idx="8" formatCode="0.00%">
                  <c:v>-0.5</c:v>
                </c:pt>
                <c:pt idx="9" formatCode="0.00%">
                  <c:v>10</c:v>
                </c:pt>
                <c:pt idx="10" formatCode="0.00%">
                  <c:v>-0.54545454545454541</c:v>
                </c:pt>
                <c:pt idx="11" formatCode="0.00%">
                  <c:v>-0.6</c:v>
                </c:pt>
                <c:pt idx="12" formatCode="0.00%">
                  <c:v>0</c:v>
                </c:pt>
                <c:pt idx="13" formatCode="0.00%">
                  <c:v>-0.5</c:v>
                </c:pt>
                <c:pt idx="14" formatCode="0.00%">
                  <c:v>0</c:v>
                </c:pt>
                <c:pt idx="15" formatCode="0.00%">
                  <c:v>-1</c:v>
                </c:pt>
                <c:pt idx="16" formatCode="0.00%">
                  <c:v>0</c:v>
                </c:pt>
                <c:pt idx="17" formatCode="0.00%">
                  <c:v>-1</c:v>
                </c:pt>
                <c:pt idx="18" formatCode="0.00%">
                  <c:v>0</c:v>
                </c:pt>
                <c:pt idx="19" formatCode="0.00%">
                  <c:v>1</c:v>
                </c:pt>
                <c:pt idx="20" formatCode="0.00%">
                  <c:v>-0.5</c:v>
                </c:pt>
                <c:pt idx="21" formatCode="0.00%">
                  <c:v>0</c:v>
                </c:pt>
                <c:pt idx="22" formatCode="0.00%">
                  <c:v>-1</c:v>
                </c:pt>
                <c:pt idx="23" formatCode="0.00%">
                  <c:v>0</c:v>
                </c:pt>
                <c:pt idx="24" formatCode="0.00%">
                  <c:v>0</c:v>
                </c:pt>
                <c:pt idx="25" formatCode="0.00%">
                  <c:v>0</c:v>
                </c:pt>
                <c:pt idx="26" formatCode="0.00%">
                  <c:v>-1</c:v>
                </c:pt>
                <c:pt idx="27" formatCode="0.00%">
                  <c:v>0</c:v>
                </c:pt>
                <c:pt idx="28" formatCode="0.00%">
                  <c:v>0</c:v>
                </c:pt>
                <c:pt idx="29" formatCode="0.00%">
                  <c:v>0</c:v>
                </c:pt>
                <c:pt idx="30" formatCode="0.00%">
                  <c:v>-0.66666666666666663</c:v>
                </c:pt>
                <c:pt idx="31" formatCode="0.00%">
                  <c:v>0</c:v>
                </c:pt>
                <c:pt idx="32" formatCode="0.00%">
                  <c:v>0</c:v>
                </c:pt>
                <c:pt idx="33" formatCode="0.00%">
                  <c:v>0</c:v>
                </c:pt>
                <c:pt idx="34" formatCode="0.00%">
                  <c:v>1</c:v>
                </c:pt>
                <c:pt idx="35" formatCode="0.00%">
                  <c:v>-1</c:v>
                </c:pt>
                <c:pt idx="36" formatCode="0.00%">
                  <c:v>0</c:v>
                </c:pt>
                <c:pt idx="37" formatCode="0.00%">
                  <c:v>-1</c:v>
                </c:pt>
                <c:pt idx="38" formatCode="0.00%">
                  <c:v>0</c:v>
                </c:pt>
                <c:pt idx="39" formatCode="0.00%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7F0E-4A37-A260-174BC1EF0F4C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62140672"/>
        <c:axId val="262003712"/>
      </c:lineChart>
      <c:catAx>
        <c:axId val="26196121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cap="none" baseline="0" dirty="0">
                    <a:effectLst/>
                  </a:rPr>
                  <a:t>Calendar Weeks</a:t>
                </a:r>
                <a:endParaRPr lang="zh-CN" altLang="zh-CN" sz="1200" cap="none" baseline="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62001792"/>
        <c:crosses val="autoZero"/>
        <c:auto val="1"/>
        <c:lblAlgn val="ctr"/>
        <c:lblOffset val="100"/>
        <c:noMultiLvlLbl val="0"/>
      </c:catAx>
      <c:valAx>
        <c:axId val="262001792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61961216"/>
        <c:crosses val="autoZero"/>
        <c:crossBetween val="between"/>
      </c:valAx>
      <c:catAx>
        <c:axId val="26214067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62003712"/>
        <c:crosses val="autoZero"/>
        <c:auto val="1"/>
        <c:lblAlgn val="ctr"/>
        <c:lblOffset val="100"/>
        <c:noMultiLvlLbl val="0"/>
      </c:catAx>
      <c:valAx>
        <c:axId val="26200371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62140672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rPr>
              <a:t>Average Weekly Recommended Times </a:t>
            </a:r>
            <a:endParaRPr lang="en-US" sz="1400" dirty="0">
              <a:latin typeface="+mn-lt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ecommended Times 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cat>
            <c:strRef>
              <c:f>Sheet1!$A$3:$A$41</c:f>
              <c:strCache>
                <c:ptCount val="39"/>
                <c:pt idx="0">
                  <c:v>CW16</c:v>
                </c:pt>
                <c:pt idx="1">
                  <c:v>CW17</c:v>
                </c:pt>
                <c:pt idx="2">
                  <c:v>CW18</c:v>
                </c:pt>
                <c:pt idx="3">
                  <c:v>CW19</c:v>
                </c:pt>
                <c:pt idx="4">
                  <c:v>CW20</c:v>
                </c:pt>
                <c:pt idx="5">
                  <c:v>CW21</c:v>
                </c:pt>
                <c:pt idx="6">
                  <c:v>CW22</c:v>
                </c:pt>
                <c:pt idx="7">
                  <c:v>CW23</c:v>
                </c:pt>
                <c:pt idx="8">
                  <c:v>CW24</c:v>
                </c:pt>
                <c:pt idx="9">
                  <c:v>CW25</c:v>
                </c:pt>
                <c:pt idx="10">
                  <c:v>CW26</c:v>
                </c:pt>
                <c:pt idx="11">
                  <c:v>CW27</c:v>
                </c:pt>
                <c:pt idx="12">
                  <c:v>CW28</c:v>
                </c:pt>
                <c:pt idx="13">
                  <c:v>CW29</c:v>
                </c:pt>
                <c:pt idx="14">
                  <c:v>CW30</c:v>
                </c:pt>
                <c:pt idx="15">
                  <c:v>CW31</c:v>
                </c:pt>
                <c:pt idx="16">
                  <c:v>CW32</c:v>
                </c:pt>
                <c:pt idx="17">
                  <c:v>CW33</c:v>
                </c:pt>
                <c:pt idx="18">
                  <c:v>CW34</c:v>
                </c:pt>
                <c:pt idx="19">
                  <c:v>CW35</c:v>
                </c:pt>
                <c:pt idx="20">
                  <c:v>CW36</c:v>
                </c:pt>
                <c:pt idx="21">
                  <c:v>CW37</c:v>
                </c:pt>
                <c:pt idx="22">
                  <c:v>CW38</c:v>
                </c:pt>
                <c:pt idx="23">
                  <c:v>CW39</c:v>
                </c:pt>
                <c:pt idx="24">
                  <c:v>CW40</c:v>
                </c:pt>
                <c:pt idx="25">
                  <c:v>CW41</c:v>
                </c:pt>
                <c:pt idx="26">
                  <c:v>CW42</c:v>
                </c:pt>
                <c:pt idx="27">
                  <c:v>CW43</c:v>
                </c:pt>
                <c:pt idx="28">
                  <c:v>CW44</c:v>
                </c:pt>
                <c:pt idx="29">
                  <c:v>CW45</c:v>
                </c:pt>
                <c:pt idx="30">
                  <c:v>CW46</c:v>
                </c:pt>
                <c:pt idx="31">
                  <c:v>CW47</c:v>
                </c:pt>
                <c:pt idx="32">
                  <c:v>CW48</c:v>
                </c:pt>
                <c:pt idx="33">
                  <c:v>CW49</c:v>
                </c:pt>
                <c:pt idx="34">
                  <c:v>CW50</c:v>
                </c:pt>
                <c:pt idx="35">
                  <c:v>CW51</c:v>
                </c:pt>
                <c:pt idx="36">
                  <c:v>CW52</c:v>
                </c:pt>
                <c:pt idx="37">
                  <c:v>CW01</c:v>
                </c:pt>
                <c:pt idx="38">
                  <c:v>CW02</c:v>
                </c:pt>
              </c:strCache>
            </c:strRef>
          </c:cat>
          <c:val>
            <c:numRef>
              <c:f>Sheet1!$B$3:$B$41</c:f>
              <c:numCache>
                <c:formatCode>General</c:formatCode>
                <c:ptCount val="39"/>
                <c:pt idx="0">
                  <c:v>5</c:v>
                </c:pt>
                <c:pt idx="1">
                  <c:v>3</c:v>
                </c:pt>
                <c:pt idx="2">
                  <c:v>2</c:v>
                </c:pt>
                <c:pt idx="3">
                  <c:v>6</c:v>
                </c:pt>
                <c:pt idx="4">
                  <c:v>0</c:v>
                </c:pt>
                <c:pt idx="5">
                  <c:v>4</c:v>
                </c:pt>
                <c:pt idx="6">
                  <c:v>2</c:v>
                </c:pt>
                <c:pt idx="7">
                  <c:v>1</c:v>
                </c:pt>
                <c:pt idx="8">
                  <c:v>11</c:v>
                </c:pt>
                <c:pt idx="9">
                  <c:v>5</c:v>
                </c:pt>
                <c:pt idx="10">
                  <c:v>2</c:v>
                </c:pt>
                <c:pt idx="11">
                  <c:v>2</c:v>
                </c:pt>
                <c:pt idx="12">
                  <c:v>1</c:v>
                </c:pt>
                <c:pt idx="13">
                  <c:v>1</c:v>
                </c:pt>
                <c:pt idx="14">
                  <c:v>0</c:v>
                </c:pt>
                <c:pt idx="15">
                  <c:v>1</c:v>
                </c:pt>
                <c:pt idx="16">
                  <c:v>0</c:v>
                </c:pt>
                <c:pt idx="17">
                  <c:v>1</c:v>
                </c:pt>
                <c:pt idx="18">
                  <c:v>2</c:v>
                </c:pt>
                <c:pt idx="19">
                  <c:v>1</c:v>
                </c:pt>
                <c:pt idx="20">
                  <c:v>1</c:v>
                </c:pt>
                <c:pt idx="21">
                  <c:v>0</c:v>
                </c:pt>
                <c:pt idx="22">
                  <c:v>0</c:v>
                </c:pt>
                <c:pt idx="23">
                  <c:v>2</c:v>
                </c:pt>
                <c:pt idx="24">
                  <c:v>2</c:v>
                </c:pt>
                <c:pt idx="25">
                  <c:v>0</c:v>
                </c:pt>
                <c:pt idx="26">
                  <c:v>0</c:v>
                </c:pt>
                <c:pt idx="27">
                  <c:v>3</c:v>
                </c:pt>
                <c:pt idx="28">
                  <c:v>3</c:v>
                </c:pt>
                <c:pt idx="29">
                  <c:v>1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2</c:v>
                </c:pt>
                <c:pt idx="34">
                  <c:v>0</c:v>
                </c:pt>
                <c:pt idx="35">
                  <c:v>1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4B3-4A31-B4EE-65992E9AC86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262864256"/>
        <c:axId val="26289510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Weekly Recommended Times 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9"/>
              <c:layout>
                <c:manualLayout>
                  <c:x val="-3.08288259547667E-2"/>
                  <c:y val="-3.752819544291920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4B3-4A31-B4EE-65992E9AC86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3:$A$41</c:f>
              <c:strCache>
                <c:ptCount val="39"/>
                <c:pt idx="0">
                  <c:v>CW16</c:v>
                </c:pt>
                <c:pt idx="1">
                  <c:v>CW17</c:v>
                </c:pt>
                <c:pt idx="2">
                  <c:v>CW18</c:v>
                </c:pt>
                <c:pt idx="3">
                  <c:v>CW19</c:v>
                </c:pt>
                <c:pt idx="4">
                  <c:v>CW20</c:v>
                </c:pt>
                <c:pt idx="5">
                  <c:v>CW21</c:v>
                </c:pt>
                <c:pt idx="6">
                  <c:v>CW22</c:v>
                </c:pt>
                <c:pt idx="7">
                  <c:v>CW23</c:v>
                </c:pt>
                <c:pt idx="8">
                  <c:v>CW24</c:v>
                </c:pt>
                <c:pt idx="9">
                  <c:v>CW25</c:v>
                </c:pt>
                <c:pt idx="10">
                  <c:v>CW26</c:v>
                </c:pt>
                <c:pt idx="11">
                  <c:v>CW27</c:v>
                </c:pt>
                <c:pt idx="12">
                  <c:v>CW28</c:v>
                </c:pt>
                <c:pt idx="13">
                  <c:v>CW29</c:v>
                </c:pt>
                <c:pt idx="14">
                  <c:v>CW30</c:v>
                </c:pt>
                <c:pt idx="15">
                  <c:v>CW31</c:v>
                </c:pt>
                <c:pt idx="16">
                  <c:v>CW32</c:v>
                </c:pt>
                <c:pt idx="17">
                  <c:v>CW33</c:v>
                </c:pt>
                <c:pt idx="18">
                  <c:v>CW34</c:v>
                </c:pt>
                <c:pt idx="19">
                  <c:v>CW35</c:v>
                </c:pt>
                <c:pt idx="20">
                  <c:v>CW36</c:v>
                </c:pt>
                <c:pt idx="21">
                  <c:v>CW37</c:v>
                </c:pt>
                <c:pt idx="22">
                  <c:v>CW38</c:v>
                </c:pt>
                <c:pt idx="23">
                  <c:v>CW39</c:v>
                </c:pt>
                <c:pt idx="24">
                  <c:v>CW40</c:v>
                </c:pt>
                <c:pt idx="25">
                  <c:v>CW41</c:v>
                </c:pt>
                <c:pt idx="26">
                  <c:v>CW42</c:v>
                </c:pt>
                <c:pt idx="27">
                  <c:v>CW43</c:v>
                </c:pt>
                <c:pt idx="28">
                  <c:v>CW44</c:v>
                </c:pt>
                <c:pt idx="29">
                  <c:v>CW45</c:v>
                </c:pt>
                <c:pt idx="30">
                  <c:v>CW46</c:v>
                </c:pt>
                <c:pt idx="31">
                  <c:v>CW47</c:v>
                </c:pt>
                <c:pt idx="32">
                  <c:v>CW48</c:v>
                </c:pt>
                <c:pt idx="33">
                  <c:v>CW49</c:v>
                </c:pt>
                <c:pt idx="34">
                  <c:v>CW50</c:v>
                </c:pt>
                <c:pt idx="35">
                  <c:v>CW51</c:v>
                </c:pt>
                <c:pt idx="36">
                  <c:v>CW52</c:v>
                </c:pt>
                <c:pt idx="37">
                  <c:v>CW01</c:v>
                </c:pt>
                <c:pt idx="38">
                  <c:v>CW02</c:v>
                </c:pt>
              </c:strCache>
            </c:strRef>
          </c:cat>
          <c:val>
            <c:numRef>
              <c:f>Sheet1!$C$3:$C$41</c:f>
              <c:numCache>
                <c:formatCode>0</c:formatCode>
                <c:ptCount val="39"/>
                <c:pt idx="0">
                  <c:v>2.5</c:v>
                </c:pt>
                <c:pt idx="1">
                  <c:v>2.6666666666666665</c:v>
                </c:pt>
                <c:pt idx="2">
                  <c:v>2.5</c:v>
                </c:pt>
                <c:pt idx="3">
                  <c:v>3.2</c:v>
                </c:pt>
                <c:pt idx="4">
                  <c:v>2.6666666666666665</c:v>
                </c:pt>
                <c:pt idx="5">
                  <c:v>2.8571428571428572</c:v>
                </c:pt>
                <c:pt idx="6">
                  <c:v>2.75</c:v>
                </c:pt>
                <c:pt idx="7">
                  <c:v>2.5555555555555554</c:v>
                </c:pt>
                <c:pt idx="8">
                  <c:v>3.4</c:v>
                </c:pt>
                <c:pt idx="9">
                  <c:v>3.5454545454545454</c:v>
                </c:pt>
                <c:pt idx="10">
                  <c:v>3.4166666666666665</c:v>
                </c:pt>
                <c:pt idx="11">
                  <c:v>3.3076923076923075</c:v>
                </c:pt>
                <c:pt idx="12">
                  <c:v>3.1428571428571428</c:v>
                </c:pt>
                <c:pt idx="13">
                  <c:v>3</c:v>
                </c:pt>
                <c:pt idx="14">
                  <c:v>2.8125</c:v>
                </c:pt>
                <c:pt idx="15">
                  <c:v>2.7058823529411766</c:v>
                </c:pt>
                <c:pt idx="16">
                  <c:v>2.5555555555555554</c:v>
                </c:pt>
                <c:pt idx="17">
                  <c:v>2.4736842105263159</c:v>
                </c:pt>
                <c:pt idx="18">
                  <c:v>2.4500000000000002</c:v>
                </c:pt>
                <c:pt idx="19">
                  <c:v>2.3809523809523809</c:v>
                </c:pt>
                <c:pt idx="20">
                  <c:v>2.3181818181818183</c:v>
                </c:pt>
                <c:pt idx="21">
                  <c:v>2.2173913043478262</c:v>
                </c:pt>
                <c:pt idx="22">
                  <c:v>2.125</c:v>
                </c:pt>
                <c:pt idx="23">
                  <c:v>2.12</c:v>
                </c:pt>
                <c:pt idx="24">
                  <c:v>2.1153846153846154</c:v>
                </c:pt>
                <c:pt idx="25">
                  <c:v>2.0370370370370372</c:v>
                </c:pt>
                <c:pt idx="26">
                  <c:v>1.9642857142857142</c:v>
                </c:pt>
                <c:pt idx="27">
                  <c:v>2</c:v>
                </c:pt>
                <c:pt idx="28">
                  <c:v>2.0333333333333332</c:v>
                </c:pt>
                <c:pt idx="29">
                  <c:v>2</c:v>
                </c:pt>
                <c:pt idx="30">
                  <c:v>1.96875</c:v>
                </c:pt>
                <c:pt idx="31">
                  <c:v>1.9393939393939394</c:v>
                </c:pt>
                <c:pt idx="32">
                  <c:v>1.911764705882353</c:v>
                </c:pt>
                <c:pt idx="33">
                  <c:v>1.9142857142857144</c:v>
                </c:pt>
                <c:pt idx="34">
                  <c:v>1.8611111111111112</c:v>
                </c:pt>
                <c:pt idx="35">
                  <c:v>1.8378378378378379</c:v>
                </c:pt>
                <c:pt idx="36">
                  <c:v>1.7894736842105263</c:v>
                </c:pt>
                <c:pt idx="37">
                  <c:v>1.7435897435897436</c:v>
                </c:pt>
                <c:pt idx="38">
                  <c:v>1.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B3-4A31-B4EE-65992E9AC86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2864256"/>
        <c:axId val="262895104"/>
      </c:lineChart>
      <c:dateAx>
        <c:axId val="262864256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0" vertOverflow="ellipsis" vert="horz" wrap="square" anchor="ctr" anchorCtr="1" forceAA="0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62895104"/>
        <c:crosses val="autoZero"/>
        <c:auto val="0"/>
        <c:lblOffset val="100"/>
        <c:baseTimeUnit val="days"/>
      </c:dateAx>
      <c:valAx>
        <c:axId val="2628951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1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6286425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400" b="0" i="0" baseline="0" dirty="0">
                <a:effectLst/>
                <a:latin typeface="+mn-lt"/>
              </a:rPr>
              <a:t>Average Daily </a:t>
            </a:r>
            <a:r>
              <a:rPr lang="en-US" sz="1400" b="0" i="0" u="none" strike="noStrike" baseline="0" dirty="0">
                <a:effectLst/>
                <a:latin typeface="+mn-lt"/>
              </a:rPr>
              <a:t>Recommended Times </a:t>
            </a:r>
            <a:endParaRPr lang="zh-CN" altLang="zh-CN" sz="1400" dirty="0">
              <a:effectLst/>
              <a:latin typeface="+mn-lt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ecommended Time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cat>
            <c:strRef>
              <c:f>Sheet1!$A$2:$A$41</c:f>
              <c:strCache>
                <c:ptCount val="4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</c:strCache>
            </c:strRef>
          </c:cat>
          <c:val>
            <c:numRef>
              <c:f>Sheet1!$B$2:$B$41</c:f>
              <c:numCache>
                <c:formatCode>General</c:formatCode>
                <c:ptCount val="40"/>
                <c:pt idx="0">
                  <c:v>0</c:v>
                </c:pt>
                <c:pt idx="1">
                  <c:v>5</c:v>
                </c:pt>
                <c:pt idx="2">
                  <c:v>3</c:v>
                </c:pt>
                <c:pt idx="3">
                  <c:v>2</c:v>
                </c:pt>
                <c:pt idx="4">
                  <c:v>6</c:v>
                </c:pt>
                <c:pt idx="5">
                  <c:v>0</c:v>
                </c:pt>
                <c:pt idx="6">
                  <c:v>4</c:v>
                </c:pt>
                <c:pt idx="7">
                  <c:v>2</c:v>
                </c:pt>
                <c:pt idx="8">
                  <c:v>1</c:v>
                </c:pt>
                <c:pt idx="9">
                  <c:v>11</c:v>
                </c:pt>
                <c:pt idx="10">
                  <c:v>5</c:v>
                </c:pt>
                <c:pt idx="11">
                  <c:v>2</c:v>
                </c:pt>
                <c:pt idx="12">
                  <c:v>2</c:v>
                </c:pt>
                <c:pt idx="13">
                  <c:v>1</c:v>
                </c:pt>
                <c:pt idx="14">
                  <c:v>1</c:v>
                </c:pt>
                <c:pt idx="15">
                  <c:v>0</c:v>
                </c:pt>
                <c:pt idx="16">
                  <c:v>1</c:v>
                </c:pt>
                <c:pt idx="17">
                  <c:v>0</c:v>
                </c:pt>
                <c:pt idx="18">
                  <c:v>1</c:v>
                </c:pt>
                <c:pt idx="19">
                  <c:v>2</c:v>
                </c:pt>
                <c:pt idx="20">
                  <c:v>1</c:v>
                </c:pt>
                <c:pt idx="21">
                  <c:v>1</c:v>
                </c:pt>
                <c:pt idx="22">
                  <c:v>0</c:v>
                </c:pt>
                <c:pt idx="23">
                  <c:v>0</c:v>
                </c:pt>
                <c:pt idx="24">
                  <c:v>2</c:v>
                </c:pt>
                <c:pt idx="25">
                  <c:v>2</c:v>
                </c:pt>
                <c:pt idx="26">
                  <c:v>0</c:v>
                </c:pt>
                <c:pt idx="27">
                  <c:v>0</c:v>
                </c:pt>
                <c:pt idx="28">
                  <c:v>3</c:v>
                </c:pt>
                <c:pt idx="29">
                  <c:v>3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2</c:v>
                </c:pt>
                <c:pt idx="35">
                  <c:v>0</c:v>
                </c:pt>
                <c:pt idx="36">
                  <c:v>1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BC2-4077-922D-9BBB579E28E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262974464"/>
        <c:axId val="26298892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Daily Recommended Times 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BC2-4077-922D-9BBB579E28E9}"/>
                </c:ext>
              </c:extLst>
            </c:dLbl>
            <c:dLbl>
              <c:idx val="8"/>
              <c:layout>
                <c:manualLayout>
                  <c:x val="-4.1079812206572801E-2"/>
                  <c:y val="-1.653086842405580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CBC2-4077-922D-9BBB579E28E9}"/>
                </c:ext>
              </c:extLst>
            </c:dLbl>
            <c:dLbl>
              <c:idx val="13"/>
              <c:layout>
                <c:manualLayout>
                  <c:x val="-4.1079812206572801E-2"/>
                  <c:y val="-1.653086842405580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CBC2-4077-922D-9BBB579E28E9}"/>
                </c:ext>
              </c:extLst>
            </c:dLbl>
            <c:dLbl>
              <c:idx val="14"/>
              <c:layout>
                <c:manualLayout>
                  <c:x val="-3.0862445011275001E-2"/>
                  <c:y val="-1.653086842405580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CBC2-4077-922D-9BBB579E28E9}"/>
                </c:ext>
              </c:extLst>
            </c:dLbl>
            <c:dLbl>
              <c:idx val="18"/>
              <c:layout>
                <c:manualLayout>
                  <c:x val="-2.89085431222506E-2"/>
                  <c:y val="-1.820637909391760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CBC2-4077-922D-9BBB579E28E9}"/>
                </c:ext>
              </c:extLst>
            </c:dLbl>
            <c:dLbl>
              <c:idx val="19"/>
              <c:layout>
                <c:manualLayout>
                  <c:x val="-3.3603378803001703E-2"/>
                  <c:y val="-6.1684639963482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CBC2-4077-922D-9BBB579E28E9}"/>
                </c:ext>
              </c:extLst>
            </c:dLbl>
            <c:dLbl>
              <c:idx val="20"/>
              <c:layout>
                <c:manualLayout>
                  <c:x val="-3.5950796643377303E-2"/>
                  <c:y val="-1.820637909391760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CBC2-4077-922D-9BBB579E28E9}"/>
                </c:ext>
              </c:extLst>
            </c:dLbl>
            <c:dLbl>
              <c:idx val="21"/>
              <c:layout>
                <c:manualLayout>
                  <c:x val="-4.5340468004879703E-2"/>
                  <c:y val="-2.182956749971470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CBC2-4077-922D-9BBB579E28E9}"/>
                </c:ext>
              </c:extLst>
            </c:dLbl>
            <c:dLbl>
              <c:idx val="22"/>
              <c:layout>
                <c:manualLayout>
                  <c:x val="-1.40845070422535E-3"/>
                  <c:y val="0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CBC2-4077-922D-9BBB579E28E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6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1</c:f>
              <c:strCache>
                <c:ptCount val="4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</c:strCache>
            </c:strRef>
          </c:cat>
          <c:val>
            <c:numRef>
              <c:f>Sheet1!$C$2:$C$41</c:f>
              <c:numCache>
                <c:formatCode>0.00</c:formatCode>
                <c:ptCount val="40"/>
                <c:pt idx="0">
                  <c:v>3</c:v>
                </c:pt>
                <c:pt idx="1">
                  <c:v>0.7142857142857143</c:v>
                </c:pt>
                <c:pt idx="2">
                  <c:v>0.42857142857142855</c:v>
                </c:pt>
                <c:pt idx="3">
                  <c:v>0.2857142857142857</c:v>
                </c:pt>
                <c:pt idx="4">
                  <c:v>0.8571428571428571</c:v>
                </c:pt>
                <c:pt idx="5">
                  <c:v>0</c:v>
                </c:pt>
                <c:pt idx="6">
                  <c:v>0.5714285714285714</c:v>
                </c:pt>
                <c:pt idx="7">
                  <c:v>0.2857142857142857</c:v>
                </c:pt>
                <c:pt idx="8">
                  <c:v>0.14285714285714285</c:v>
                </c:pt>
                <c:pt idx="9">
                  <c:v>1.5714285714285714</c:v>
                </c:pt>
                <c:pt idx="10">
                  <c:v>0.7142857142857143</c:v>
                </c:pt>
                <c:pt idx="11">
                  <c:v>0.2857142857142857</c:v>
                </c:pt>
                <c:pt idx="12">
                  <c:v>0.2857142857142857</c:v>
                </c:pt>
                <c:pt idx="13">
                  <c:v>0.14285714285714285</c:v>
                </c:pt>
                <c:pt idx="14">
                  <c:v>0.14285714285714285</c:v>
                </c:pt>
                <c:pt idx="15">
                  <c:v>0</c:v>
                </c:pt>
                <c:pt idx="16">
                  <c:v>0.14285714285714285</c:v>
                </c:pt>
                <c:pt idx="17">
                  <c:v>0</c:v>
                </c:pt>
                <c:pt idx="18">
                  <c:v>0.14285714285714285</c:v>
                </c:pt>
                <c:pt idx="19">
                  <c:v>0.2857142857142857</c:v>
                </c:pt>
                <c:pt idx="20">
                  <c:v>0.14285714285714285</c:v>
                </c:pt>
                <c:pt idx="21">
                  <c:v>0.14285714285714285</c:v>
                </c:pt>
                <c:pt idx="22">
                  <c:v>0</c:v>
                </c:pt>
                <c:pt idx="23">
                  <c:v>0</c:v>
                </c:pt>
                <c:pt idx="24">
                  <c:v>0.2857142857142857</c:v>
                </c:pt>
                <c:pt idx="25">
                  <c:v>0.2857142857142857</c:v>
                </c:pt>
                <c:pt idx="26">
                  <c:v>0</c:v>
                </c:pt>
                <c:pt idx="27">
                  <c:v>0</c:v>
                </c:pt>
                <c:pt idx="28">
                  <c:v>0.42857142857142855</c:v>
                </c:pt>
                <c:pt idx="29">
                  <c:v>0.42857142857142855</c:v>
                </c:pt>
                <c:pt idx="30">
                  <c:v>0.14285714285714285</c:v>
                </c:pt>
                <c:pt idx="31">
                  <c:v>0.14285714285714285</c:v>
                </c:pt>
                <c:pt idx="32">
                  <c:v>0.14285714285714285</c:v>
                </c:pt>
                <c:pt idx="33">
                  <c:v>0.14285714285714285</c:v>
                </c:pt>
                <c:pt idx="34">
                  <c:v>0.2857142857142857</c:v>
                </c:pt>
                <c:pt idx="35">
                  <c:v>0</c:v>
                </c:pt>
                <c:pt idx="36">
                  <c:v>0.14285714285714285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CBC2-4077-922D-9BBB579E28E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2974464"/>
        <c:axId val="262988928"/>
      </c:lineChart>
      <c:dateAx>
        <c:axId val="262974464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2019-2020 Calendar Week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0" vertOverflow="ellipsis" vert="horz" wrap="square" anchor="ctr" anchorCtr="1" forceAA="0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62988928"/>
        <c:crosses val="autoZero"/>
        <c:auto val="0"/>
        <c:lblOffset val="100"/>
        <c:baseTimeUnit val="days"/>
      </c:dateAx>
      <c:valAx>
        <c:axId val="2629889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629744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Monthly Recommended Times</a:t>
            </a:r>
            <a:endParaRPr lang="zh-CN" altLang="en-US" sz="1800" b="0" cap="none" baseline="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2200" b="1" i="0" u="none" strike="noStrike" kern="1200" cap="all" spc="5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onthly  Recommended Time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10</c:v>
                </c:pt>
                <c:pt idx="1">
                  <c:v>11</c:v>
                </c:pt>
                <c:pt idx="2">
                  <c:v>20</c:v>
                </c:pt>
                <c:pt idx="3">
                  <c:v>4</c:v>
                </c:pt>
                <c:pt idx="4">
                  <c:v>5</c:v>
                </c:pt>
                <c:pt idx="5">
                  <c:v>3</c:v>
                </c:pt>
                <c:pt idx="6">
                  <c:v>6</c:v>
                </c:pt>
                <c:pt idx="7">
                  <c:v>6</c:v>
                </c:pt>
                <c:pt idx="8">
                  <c:v>3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767-456F-A12F-3BDD4B1A2A9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63559040"/>
        <c:axId val="263577600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C$2:$C$11</c:f>
              <c:numCache>
                <c:formatCode>0%</c:formatCode>
                <c:ptCount val="10"/>
                <c:pt idx="0">
                  <c:v>#N/A</c:v>
                </c:pt>
                <c:pt idx="1">
                  <c:v>1.1000000000000001</c:v>
                </c:pt>
                <c:pt idx="2" formatCode="0.00%">
                  <c:v>0.95238095238095233</c:v>
                </c:pt>
                <c:pt idx="3" formatCode="0.00%">
                  <c:v>9.7560975609756101E-2</c:v>
                </c:pt>
                <c:pt idx="4" formatCode="0.00%">
                  <c:v>0.1111111111111111</c:v>
                </c:pt>
                <c:pt idx="5" formatCode="0.00%">
                  <c:v>0.06</c:v>
                </c:pt>
                <c:pt idx="6" formatCode="0.00%">
                  <c:v>0.11320754716981132</c:v>
                </c:pt>
                <c:pt idx="7" formatCode="0.00%">
                  <c:v>0.10169491525423729</c:v>
                </c:pt>
                <c:pt idx="8" formatCode="0.00%">
                  <c:v>4.6153846153846156E-2</c:v>
                </c:pt>
                <c:pt idx="9" formatCode="0.00%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767-456F-A12F-3BDD4B1A2A9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A4A4A4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D$2:$D$11</c:f>
              <c:numCache>
                <c:formatCode>0%</c:formatCode>
                <c:ptCount val="10"/>
                <c:pt idx="0">
                  <c:v>#N/A</c:v>
                </c:pt>
                <c:pt idx="1">
                  <c:v>0.1</c:v>
                </c:pt>
                <c:pt idx="2" formatCode="0.00%">
                  <c:v>0.81818181818181823</c:v>
                </c:pt>
                <c:pt idx="3" formatCode="0.00%">
                  <c:v>-0.8</c:v>
                </c:pt>
                <c:pt idx="4" formatCode="0.00%">
                  <c:v>0.25</c:v>
                </c:pt>
                <c:pt idx="5" formatCode="0.00%">
                  <c:v>-0.4</c:v>
                </c:pt>
                <c:pt idx="6" formatCode="0.00%">
                  <c:v>1</c:v>
                </c:pt>
                <c:pt idx="7" formatCode="0.00%">
                  <c:v>0</c:v>
                </c:pt>
                <c:pt idx="8" formatCode="0.00%">
                  <c:v>-0.5</c:v>
                </c:pt>
                <c:pt idx="9" formatCode="0.00%">
                  <c:v>-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767-456F-A12F-3BDD4B1A2A9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63581056"/>
        <c:axId val="263579520"/>
      </c:lineChart>
      <c:catAx>
        <c:axId val="26355904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Month</a:t>
                </a:r>
                <a:endParaRPr lang="zh-CN" altLang="en-US" cap="none" baseline="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63577600"/>
        <c:crosses val="autoZero"/>
        <c:auto val="1"/>
        <c:lblAlgn val="ctr"/>
        <c:lblOffset val="100"/>
        <c:noMultiLvlLbl val="0"/>
      </c:catAx>
      <c:valAx>
        <c:axId val="26357760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63559040"/>
        <c:crosses val="autoZero"/>
        <c:crossBetween val="between"/>
      </c:valAx>
      <c:catAx>
        <c:axId val="26358105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63579520"/>
        <c:crosses val="autoZero"/>
        <c:auto val="1"/>
        <c:lblAlgn val="ctr"/>
        <c:lblOffset val="100"/>
        <c:noMultiLvlLbl val="0"/>
      </c:catAx>
      <c:valAx>
        <c:axId val="26357952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6358105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+mn-ea"/>
                <a:cs typeface="+mn-cs"/>
              </a:rPr>
              <a:t>Average Weekly Downloads</a:t>
            </a:r>
            <a:endParaRPr lang="en-US" sz="1800" dirty="0">
              <a:latin typeface="+mj-lt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8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0.13557132823185833"/>
          <c:y val="0.12208962160979879"/>
          <c:w val="0.790652656094045"/>
          <c:h val="0.55905911217619497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solidFill>
                <a:srgbClr val="C6C6C6"/>
              </a:solidFill>
            </a:ln>
            <a:effectLst/>
          </c:spPr>
          <c:invertIfNegative val="0"/>
          <c:cat>
            <c:strRef>
              <c:f>Sheet1!$A$2:$A$41</c:f>
              <c:strCache>
                <c:ptCount val="4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</c:strCache>
            </c:strRef>
          </c:cat>
          <c:val>
            <c:numRef>
              <c:f>Sheet1!$B$2:$B$41</c:f>
              <c:numCache>
                <c:formatCode>General</c:formatCode>
                <c:ptCount val="40"/>
                <c:pt idx="0">
                  <c:v>8</c:v>
                </c:pt>
                <c:pt idx="1">
                  <c:v>46</c:v>
                </c:pt>
                <c:pt idx="2">
                  <c:v>18</c:v>
                </c:pt>
                <c:pt idx="3">
                  <c:v>17</c:v>
                </c:pt>
                <c:pt idx="4">
                  <c:v>19</c:v>
                </c:pt>
                <c:pt idx="5">
                  <c:v>23</c:v>
                </c:pt>
                <c:pt idx="6">
                  <c:v>21</c:v>
                </c:pt>
                <c:pt idx="7">
                  <c:v>14</c:v>
                </c:pt>
                <c:pt idx="8">
                  <c:v>18</c:v>
                </c:pt>
                <c:pt idx="9">
                  <c:v>124</c:v>
                </c:pt>
                <c:pt idx="10">
                  <c:v>13</c:v>
                </c:pt>
                <c:pt idx="11">
                  <c:v>22</c:v>
                </c:pt>
                <c:pt idx="12">
                  <c:v>14</c:v>
                </c:pt>
                <c:pt idx="13">
                  <c:v>17</c:v>
                </c:pt>
                <c:pt idx="14">
                  <c:v>13</c:v>
                </c:pt>
                <c:pt idx="15">
                  <c:v>13</c:v>
                </c:pt>
                <c:pt idx="16">
                  <c:v>8</c:v>
                </c:pt>
                <c:pt idx="17">
                  <c:v>20</c:v>
                </c:pt>
                <c:pt idx="18">
                  <c:v>6</c:v>
                </c:pt>
                <c:pt idx="19">
                  <c:v>19</c:v>
                </c:pt>
                <c:pt idx="20">
                  <c:v>18</c:v>
                </c:pt>
                <c:pt idx="21">
                  <c:v>17</c:v>
                </c:pt>
                <c:pt idx="22">
                  <c:v>18</c:v>
                </c:pt>
                <c:pt idx="23">
                  <c:v>17</c:v>
                </c:pt>
                <c:pt idx="24">
                  <c:v>15</c:v>
                </c:pt>
                <c:pt idx="25">
                  <c:v>12</c:v>
                </c:pt>
                <c:pt idx="26">
                  <c:v>4</c:v>
                </c:pt>
                <c:pt idx="27">
                  <c:v>12</c:v>
                </c:pt>
                <c:pt idx="28">
                  <c:v>12</c:v>
                </c:pt>
                <c:pt idx="29">
                  <c:v>20</c:v>
                </c:pt>
                <c:pt idx="30">
                  <c:v>10</c:v>
                </c:pt>
                <c:pt idx="31">
                  <c:v>17</c:v>
                </c:pt>
                <c:pt idx="32">
                  <c:v>19</c:v>
                </c:pt>
                <c:pt idx="33">
                  <c:v>16</c:v>
                </c:pt>
                <c:pt idx="34">
                  <c:v>22</c:v>
                </c:pt>
                <c:pt idx="35">
                  <c:v>14</c:v>
                </c:pt>
                <c:pt idx="36">
                  <c:v>11</c:v>
                </c:pt>
                <c:pt idx="37">
                  <c:v>5</c:v>
                </c:pt>
                <c:pt idx="38">
                  <c:v>20</c:v>
                </c:pt>
                <c:pt idx="39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8D2-485C-A9D5-EA1F14A6954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solidFill>
                <a:srgbClr val="575757"/>
              </a:solidFill>
            </a:ln>
            <a:effectLst/>
          </c:spPr>
          <c:invertIfNegative val="0"/>
          <c:cat>
            <c:strRef>
              <c:f>Sheet1!$A$2:$A$41</c:f>
              <c:strCache>
                <c:ptCount val="4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</c:strCache>
            </c:strRef>
          </c:cat>
          <c:val>
            <c:numRef>
              <c:f>Sheet1!$C$2:$C$41</c:f>
              <c:numCache>
                <c:formatCode>General</c:formatCode>
                <c:ptCount val="40"/>
                <c:pt idx="0">
                  <c:v>0</c:v>
                </c:pt>
                <c:pt idx="1">
                  <c:v>9</c:v>
                </c:pt>
                <c:pt idx="2">
                  <c:v>10</c:v>
                </c:pt>
                <c:pt idx="3">
                  <c:v>5</c:v>
                </c:pt>
                <c:pt idx="4">
                  <c:v>22</c:v>
                </c:pt>
                <c:pt idx="5">
                  <c:v>17</c:v>
                </c:pt>
                <c:pt idx="6">
                  <c:v>6</c:v>
                </c:pt>
                <c:pt idx="7">
                  <c:v>6</c:v>
                </c:pt>
                <c:pt idx="8">
                  <c:v>30</c:v>
                </c:pt>
                <c:pt idx="9">
                  <c:v>30</c:v>
                </c:pt>
                <c:pt idx="10">
                  <c:v>10</c:v>
                </c:pt>
                <c:pt idx="11">
                  <c:v>5</c:v>
                </c:pt>
                <c:pt idx="12">
                  <c:v>5</c:v>
                </c:pt>
                <c:pt idx="13">
                  <c:v>4</c:v>
                </c:pt>
                <c:pt idx="14">
                  <c:v>6</c:v>
                </c:pt>
                <c:pt idx="15">
                  <c:v>2</c:v>
                </c:pt>
                <c:pt idx="16">
                  <c:v>9</c:v>
                </c:pt>
                <c:pt idx="17">
                  <c:v>5</c:v>
                </c:pt>
                <c:pt idx="18">
                  <c:v>3</c:v>
                </c:pt>
                <c:pt idx="19">
                  <c:v>19</c:v>
                </c:pt>
                <c:pt idx="20">
                  <c:v>21</c:v>
                </c:pt>
                <c:pt idx="21">
                  <c:v>7</c:v>
                </c:pt>
                <c:pt idx="22">
                  <c:v>10</c:v>
                </c:pt>
                <c:pt idx="23">
                  <c:v>6</c:v>
                </c:pt>
                <c:pt idx="24">
                  <c:v>13</c:v>
                </c:pt>
                <c:pt idx="25">
                  <c:v>9</c:v>
                </c:pt>
                <c:pt idx="26">
                  <c:v>10</c:v>
                </c:pt>
                <c:pt idx="27">
                  <c:v>2</c:v>
                </c:pt>
                <c:pt idx="28">
                  <c:v>4</c:v>
                </c:pt>
                <c:pt idx="29">
                  <c:v>5</c:v>
                </c:pt>
                <c:pt idx="30">
                  <c:v>6</c:v>
                </c:pt>
                <c:pt idx="31">
                  <c:v>3</c:v>
                </c:pt>
                <c:pt idx="32">
                  <c:v>11</c:v>
                </c:pt>
                <c:pt idx="33">
                  <c:v>4</c:v>
                </c:pt>
                <c:pt idx="34">
                  <c:v>8</c:v>
                </c:pt>
                <c:pt idx="35">
                  <c:v>5</c:v>
                </c:pt>
                <c:pt idx="36">
                  <c:v>3</c:v>
                </c:pt>
                <c:pt idx="37">
                  <c:v>7</c:v>
                </c:pt>
                <c:pt idx="38">
                  <c:v>5</c:v>
                </c:pt>
                <c:pt idx="39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8D2-485C-A9D5-EA1F14A69547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aidu(Android)</c:v>
                </c:pt>
              </c:strCache>
            </c:strRef>
          </c:tx>
          <c:spPr>
            <a:solidFill>
              <a:srgbClr val="BB0A30"/>
            </a:solidFill>
            <a:ln>
              <a:solidFill>
                <a:srgbClr val="BB0A30"/>
              </a:solidFill>
            </a:ln>
            <a:effectLst/>
          </c:spPr>
          <c:invertIfNegative val="0"/>
          <c:cat>
            <c:strRef>
              <c:f>Sheet1!$A$2:$A$41</c:f>
              <c:strCache>
                <c:ptCount val="4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</c:strCache>
            </c:strRef>
          </c:cat>
          <c:val>
            <c:numRef>
              <c:f>Sheet1!$D$2:$D$41</c:f>
              <c:numCache>
                <c:formatCode>General</c:formatCode>
                <c:ptCount val="40"/>
                <c:pt idx="0">
                  <c:v>3</c:v>
                </c:pt>
                <c:pt idx="1">
                  <c:v>34</c:v>
                </c:pt>
                <c:pt idx="2">
                  <c:v>1</c:v>
                </c:pt>
                <c:pt idx="3">
                  <c:v>0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2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1</c:v>
                </c:pt>
                <c:pt idx="22">
                  <c:v>1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58D2-485C-A9D5-EA1F14A695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1667328"/>
        <c:axId val="201669632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Average weekly downloads</c:v>
                </c:pt>
              </c:strCache>
            </c:strRef>
          </c:tx>
          <c:spPr>
            <a:ln w="28575" cap="rnd">
              <a:solidFill>
                <a:schemeClr val="accent6">
                  <a:tint val="58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tint val="58000"/>
                </a:schemeClr>
              </a:solidFill>
              <a:ln w="9525">
                <a:solidFill>
                  <a:schemeClr val="accent6">
                    <a:tint val="58000"/>
                  </a:schemeClr>
                </a:solidFill>
              </a:ln>
              <a:effectLst/>
            </c:spPr>
          </c:marker>
          <c:cat>
            <c:strRef>
              <c:f>Sheet1!$A$2:$A$41</c:f>
              <c:strCache>
                <c:ptCount val="4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</c:strCache>
            </c:strRef>
          </c:cat>
          <c:val>
            <c:numRef>
              <c:f>Sheet1!$E$2:$E$41</c:f>
              <c:numCache>
                <c:formatCode>0</c:formatCode>
                <c:ptCount val="40"/>
                <c:pt idx="0">
                  <c:v>8</c:v>
                </c:pt>
                <c:pt idx="1">
                  <c:v>31.5</c:v>
                </c:pt>
                <c:pt idx="2">
                  <c:v>30.333333333333332</c:v>
                </c:pt>
                <c:pt idx="3">
                  <c:v>28.25</c:v>
                </c:pt>
                <c:pt idx="4">
                  <c:v>30.8</c:v>
                </c:pt>
                <c:pt idx="5">
                  <c:v>32.333333333333336</c:v>
                </c:pt>
                <c:pt idx="6">
                  <c:v>31.571428571428573</c:v>
                </c:pt>
                <c:pt idx="7">
                  <c:v>30.125</c:v>
                </c:pt>
                <c:pt idx="8">
                  <c:v>32.111111111111114</c:v>
                </c:pt>
                <c:pt idx="9">
                  <c:v>44.3</c:v>
                </c:pt>
                <c:pt idx="10">
                  <c:v>42.363636363636367</c:v>
                </c:pt>
                <c:pt idx="11">
                  <c:v>41.083333333333336</c:v>
                </c:pt>
                <c:pt idx="12">
                  <c:v>39.384615384615387</c:v>
                </c:pt>
                <c:pt idx="13">
                  <c:v>38.071428571428569</c:v>
                </c:pt>
                <c:pt idx="14">
                  <c:v>36.799999999999997</c:v>
                </c:pt>
                <c:pt idx="15">
                  <c:v>35.4375</c:v>
                </c:pt>
                <c:pt idx="16">
                  <c:v>34.352941176470587</c:v>
                </c:pt>
                <c:pt idx="17">
                  <c:v>33.833333333333336</c:v>
                </c:pt>
                <c:pt idx="18">
                  <c:v>32.526315789473685</c:v>
                </c:pt>
                <c:pt idx="19">
                  <c:v>32.799999999999997</c:v>
                </c:pt>
                <c:pt idx="20">
                  <c:v>33.095238095238095</c:v>
                </c:pt>
                <c:pt idx="21">
                  <c:v>32.68181818181818</c:v>
                </c:pt>
                <c:pt idx="22">
                  <c:v>32.478260869565219</c:v>
                </c:pt>
                <c:pt idx="23">
                  <c:v>32.083333333333336</c:v>
                </c:pt>
                <c:pt idx="24">
                  <c:v>31.92</c:v>
                </c:pt>
                <c:pt idx="25">
                  <c:v>31.5</c:v>
                </c:pt>
                <c:pt idx="26">
                  <c:v>30.851851851851851</c:v>
                </c:pt>
                <c:pt idx="27">
                  <c:v>30.25</c:v>
                </c:pt>
                <c:pt idx="28">
                  <c:v>29.758620689655171</c:v>
                </c:pt>
                <c:pt idx="29">
                  <c:v>29.6</c:v>
                </c:pt>
                <c:pt idx="30">
                  <c:v>29.161290322580644</c:v>
                </c:pt>
                <c:pt idx="31">
                  <c:v>28.875</c:v>
                </c:pt>
                <c:pt idx="32">
                  <c:v>28.90909090909091</c:v>
                </c:pt>
                <c:pt idx="33">
                  <c:v>28.647058823529413</c:v>
                </c:pt>
                <c:pt idx="34">
                  <c:v>28.685714285714287</c:v>
                </c:pt>
                <c:pt idx="35">
                  <c:v>28.416666666666668</c:v>
                </c:pt>
                <c:pt idx="36">
                  <c:v>28.027027027027028</c:v>
                </c:pt>
                <c:pt idx="37">
                  <c:v>27.605263157894736</c:v>
                </c:pt>
                <c:pt idx="38">
                  <c:v>27.53846153846154</c:v>
                </c:pt>
                <c:pt idx="39">
                  <c:v>27.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F-58D2-485C-A9D5-EA1F14A695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1702016"/>
        <c:axId val="201700480"/>
      </c:lineChart>
      <c:dateAx>
        <c:axId val="201667328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2019-2020 Calendar Week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0" vertOverflow="ellipsis" vert="horz" wrap="square" anchor="ctr" anchorCtr="1" forceAA="0"/>
            <a:lstStyle/>
            <a:p>
              <a:pPr>
                <a:defRPr lang="zh-CN" sz="1200" b="0" i="0" u="none" strike="noStrike" kern="1200" baseline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1669632"/>
        <c:crosses val="autoZero"/>
        <c:auto val="0"/>
        <c:lblOffset val="100"/>
        <c:baseTimeUnit val="days"/>
      </c:dateAx>
      <c:valAx>
        <c:axId val="2016696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1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1667328"/>
        <c:crosses val="autoZero"/>
        <c:crossBetween val="between"/>
      </c:valAx>
      <c:catAx>
        <c:axId val="20170201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01700480"/>
        <c:crosses val="autoZero"/>
        <c:auto val="1"/>
        <c:lblAlgn val="ctr"/>
        <c:lblOffset val="100"/>
        <c:noMultiLvlLbl val="0"/>
      </c:catAx>
      <c:valAx>
        <c:axId val="201700480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170201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7.8638497652582198E-2"/>
          <c:y val="0.88645833333333302"/>
          <c:w val="0.852112676056338"/>
          <c:h val="0.1031249999999999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+mn-ea"/>
                <a:cs typeface="+mn-cs"/>
              </a:rPr>
              <a:t>Average Daily Downloads</a:t>
            </a:r>
            <a:endParaRPr lang="en-US" sz="1800" b="0" i="0" u="none" strike="noStrike" kern="1200" spc="0" baseline="0" dirty="0">
              <a:solidFill>
                <a:srgbClr val="000000">
                  <a:lumMod val="65000"/>
                  <a:lumOff val="35000"/>
                </a:srgbClr>
              </a:solidFill>
              <a:latin typeface="+mj-lt"/>
              <a:ea typeface="+mn-ea"/>
              <a:cs typeface="+mn-cs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8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0.12531329710546699"/>
          <c:y val="0.15681187949332401"/>
          <c:w val="0.80488983771394795"/>
          <c:h val="0.55905911217619497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solidFill>
                <a:srgbClr val="C6C6C6"/>
              </a:solidFill>
            </a:ln>
            <a:effectLst/>
          </c:spPr>
          <c:invertIfNegative val="0"/>
          <c:cat>
            <c:strRef>
              <c:f>Sheet1!$A$2:$A$41</c:f>
              <c:strCache>
                <c:ptCount val="4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</c:strCache>
            </c:strRef>
          </c:cat>
          <c:val>
            <c:numRef>
              <c:f>Sheet1!$E$2:$E$41</c:f>
              <c:numCache>
                <c:formatCode>0</c:formatCode>
                <c:ptCount val="40"/>
                <c:pt idx="0">
                  <c:v>4</c:v>
                </c:pt>
                <c:pt idx="1">
                  <c:v>6.5714285714285712</c:v>
                </c:pt>
                <c:pt idx="2">
                  <c:v>2.5714285714285716</c:v>
                </c:pt>
                <c:pt idx="3">
                  <c:v>2.4285714285714284</c:v>
                </c:pt>
                <c:pt idx="4">
                  <c:v>2.7142857142857144</c:v>
                </c:pt>
                <c:pt idx="5">
                  <c:v>3.2857142857142856</c:v>
                </c:pt>
                <c:pt idx="6">
                  <c:v>3</c:v>
                </c:pt>
                <c:pt idx="7">
                  <c:v>2</c:v>
                </c:pt>
                <c:pt idx="8">
                  <c:v>2.5714285714285716</c:v>
                </c:pt>
                <c:pt idx="9">
                  <c:v>17.714285714285715</c:v>
                </c:pt>
                <c:pt idx="10">
                  <c:v>1.8571428571428572</c:v>
                </c:pt>
                <c:pt idx="11">
                  <c:v>3.1428571428571428</c:v>
                </c:pt>
                <c:pt idx="12">
                  <c:v>2</c:v>
                </c:pt>
                <c:pt idx="13">
                  <c:v>2.4285714285714284</c:v>
                </c:pt>
                <c:pt idx="14">
                  <c:v>1.8571428571428572</c:v>
                </c:pt>
                <c:pt idx="15">
                  <c:v>1.8571428571428572</c:v>
                </c:pt>
                <c:pt idx="16">
                  <c:v>1.1428571428571428</c:v>
                </c:pt>
                <c:pt idx="17">
                  <c:v>2.8571428571428572</c:v>
                </c:pt>
                <c:pt idx="18">
                  <c:v>0.8571428571428571</c:v>
                </c:pt>
                <c:pt idx="19">
                  <c:v>2.7142857142857144</c:v>
                </c:pt>
                <c:pt idx="20">
                  <c:v>2.5714285714285716</c:v>
                </c:pt>
                <c:pt idx="21">
                  <c:v>2.4285714285714284</c:v>
                </c:pt>
                <c:pt idx="22">
                  <c:v>2.5714285714285716</c:v>
                </c:pt>
                <c:pt idx="23">
                  <c:v>2.4285714285714284</c:v>
                </c:pt>
                <c:pt idx="24">
                  <c:v>2.1428571428571428</c:v>
                </c:pt>
                <c:pt idx="25">
                  <c:v>1.7142857142857142</c:v>
                </c:pt>
                <c:pt idx="26">
                  <c:v>0.5714285714285714</c:v>
                </c:pt>
                <c:pt idx="27">
                  <c:v>1.7142857142857142</c:v>
                </c:pt>
                <c:pt idx="28">
                  <c:v>1.7142857142857142</c:v>
                </c:pt>
                <c:pt idx="29">
                  <c:v>2.8571428571428572</c:v>
                </c:pt>
                <c:pt idx="30">
                  <c:v>1.2857142857142858</c:v>
                </c:pt>
                <c:pt idx="31">
                  <c:v>2.4285714285714284</c:v>
                </c:pt>
                <c:pt idx="32">
                  <c:v>2.5714285714285716</c:v>
                </c:pt>
                <c:pt idx="33">
                  <c:v>2.2857142857142856</c:v>
                </c:pt>
                <c:pt idx="34">
                  <c:v>3.1428571428571428</c:v>
                </c:pt>
                <c:pt idx="35">
                  <c:v>2</c:v>
                </c:pt>
                <c:pt idx="36">
                  <c:v>1.5714285714285714</c:v>
                </c:pt>
                <c:pt idx="37">
                  <c:v>0.7142857142857143</c:v>
                </c:pt>
                <c:pt idx="38">
                  <c:v>2.8571428571428572</c:v>
                </c:pt>
                <c:pt idx="39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032-4A9B-BA80-B60AB08DFCB1}"/>
            </c:ext>
          </c:extLst>
        </c:ser>
        <c:ser>
          <c:idx val="1"/>
          <c:order val="1"/>
          <c:tx>
            <c:strRef>
              <c:f>Sheet1!$F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solidFill>
                <a:srgbClr val="575757"/>
              </a:solidFill>
            </a:ln>
            <a:effectLst/>
          </c:spPr>
          <c:invertIfNegative val="0"/>
          <c:cat>
            <c:strRef>
              <c:f>Sheet1!$A$2:$A$41</c:f>
              <c:strCache>
                <c:ptCount val="4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</c:strCache>
            </c:strRef>
          </c:cat>
          <c:val>
            <c:numRef>
              <c:f>Sheet1!$F$2:$F$41</c:f>
              <c:numCache>
                <c:formatCode>0</c:formatCode>
                <c:ptCount val="40"/>
                <c:pt idx="0" formatCode="General">
                  <c:v>0</c:v>
                </c:pt>
                <c:pt idx="1">
                  <c:v>1.2857142857142858</c:v>
                </c:pt>
                <c:pt idx="2">
                  <c:v>1.4285714285714286</c:v>
                </c:pt>
                <c:pt idx="3">
                  <c:v>0.7142857142857143</c:v>
                </c:pt>
                <c:pt idx="4">
                  <c:v>3.1428571428571428</c:v>
                </c:pt>
                <c:pt idx="5">
                  <c:v>2.4285714285714284</c:v>
                </c:pt>
                <c:pt idx="6">
                  <c:v>0.8571428571428571</c:v>
                </c:pt>
                <c:pt idx="7">
                  <c:v>0.8571428571428571</c:v>
                </c:pt>
                <c:pt idx="8">
                  <c:v>4.2857142857142856</c:v>
                </c:pt>
                <c:pt idx="9">
                  <c:v>4.2857142857142856</c:v>
                </c:pt>
                <c:pt idx="10">
                  <c:v>1.4285714285714286</c:v>
                </c:pt>
                <c:pt idx="11">
                  <c:v>0.7142857142857143</c:v>
                </c:pt>
                <c:pt idx="12">
                  <c:v>0.7142857142857143</c:v>
                </c:pt>
                <c:pt idx="13">
                  <c:v>0.5714285714285714</c:v>
                </c:pt>
                <c:pt idx="14">
                  <c:v>0.8571428571428571</c:v>
                </c:pt>
                <c:pt idx="15">
                  <c:v>0.2857142857142857</c:v>
                </c:pt>
                <c:pt idx="16">
                  <c:v>1.2857142857142858</c:v>
                </c:pt>
                <c:pt idx="17">
                  <c:v>0.7142857142857143</c:v>
                </c:pt>
                <c:pt idx="18">
                  <c:v>0.42857142857142855</c:v>
                </c:pt>
                <c:pt idx="19">
                  <c:v>2.7142857142857144</c:v>
                </c:pt>
                <c:pt idx="20">
                  <c:v>3</c:v>
                </c:pt>
                <c:pt idx="21">
                  <c:v>1</c:v>
                </c:pt>
                <c:pt idx="22">
                  <c:v>1.4285714285714286</c:v>
                </c:pt>
                <c:pt idx="23">
                  <c:v>0.8571428571428571</c:v>
                </c:pt>
                <c:pt idx="24">
                  <c:v>1.8571428571428572</c:v>
                </c:pt>
                <c:pt idx="25">
                  <c:v>1.2857142857142858</c:v>
                </c:pt>
                <c:pt idx="26">
                  <c:v>1.4285714285714286</c:v>
                </c:pt>
                <c:pt idx="27">
                  <c:v>0.2857142857142857</c:v>
                </c:pt>
                <c:pt idx="28">
                  <c:v>0.5714285714285714</c:v>
                </c:pt>
                <c:pt idx="29">
                  <c:v>0.7142857142857143</c:v>
                </c:pt>
                <c:pt idx="30">
                  <c:v>0.7142857142857143</c:v>
                </c:pt>
                <c:pt idx="31">
                  <c:v>0.42857142857142855</c:v>
                </c:pt>
                <c:pt idx="32">
                  <c:v>1.5714285714285714</c:v>
                </c:pt>
                <c:pt idx="33">
                  <c:v>0.5714285714285714</c:v>
                </c:pt>
                <c:pt idx="34">
                  <c:v>1.1428571428571428</c:v>
                </c:pt>
                <c:pt idx="35">
                  <c:v>0.7142857142857143</c:v>
                </c:pt>
                <c:pt idx="36">
                  <c:v>0.42857142857142855</c:v>
                </c:pt>
                <c:pt idx="37">
                  <c:v>1</c:v>
                </c:pt>
                <c:pt idx="38">
                  <c:v>0.7142857142857143</c:v>
                </c:pt>
                <c:pt idx="39">
                  <c:v>0.71428571428571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032-4A9B-BA80-B60AB08DFCB1}"/>
            </c:ext>
          </c:extLst>
        </c:ser>
        <c:ser>
          <c:idx val="2"/>
          <c:order val="2"/>
          <c:tx>
            <c:strRef>
              <c:f>Sheet1!$G$1</c:f>
              <c:strCache>
                <c:ptCount val="1"/>
                <c:pt idx="0">
                  <c:v>Baidu(Android)</c:v>
                </c:pt>
              </c:strCache>
            </c:strRef>
          </c:tx>
          <c:spPr>
            <a:solidFill>
              <a:srgbClr val="BB0A30"/>
            </a:solidFill>
            <a:ln>
              <a:solidFill>
                <a:srgbClr val="BB0A30"/>
              </a:solidFill>
            </a:ln>
            <a:effectLst/>
          </c:spPr>
          <c:invertIfNegative val="0"/>
          <c:cat>
            <c:strRef>
              <c:f>Sheet1!$A$2:$A$41</c:f>
              <c:strCache>
                <c:ptCount val="4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</c:strCache>
            </c:strRef>
          </c:cat>
          <c:val>
            <c:numRef>
              <c:f>Sheet1!$G$2:$G$41</c:f>
              <c:numCache>
                <c:formatCode>0</c:formatCode>
                <c:ptCount val="40"/>
                <c:pt idx="0">
                  <c:v>1.5</c:v>
                </c:pt>
                <c:pt idx="1">
                  <c:v>4.8571428571428568</c:v>
                </c:pt>
                <c:pt idx="2">
                  <c:v>0.14285714285714285</c:v>
                </c:pt>
                <c:pt idx="3">
                  <c:v>0</c:v>
                </c:pt>
                <c:pt idx="4">
                  <c:v>0.14285714285714285</c:v>
                </c:pt>
                <c:pt idx="5">
                  <c:v>0</c:v>
                </c:pt>
                <c:pt idx="6">
                  <c:v>0</c:v>
                </c:pt>
                <c:pt idx="7">
                  <c:v>0.2857142857142857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.14285714285714285</c:v>
                </c:pt>
                <c:pt idx="22">
                  <c:v>0.14285714285714285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C-2032-4A9B-BA80-B60AB08DFCB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1951104"/>
        <c:axId val="201953664"/>
      </c:barChart>
      <c:lineChart>
        <c:grouping val="standard"/>
        <c:varyColors val="0"/>
        <c:ser>
          <c:idx val="3"/>
          <c:order val="3"/>
          <c:tx>
            <c:strRef>
              <c:f>Sheet1!$H$1</c:f>
              <c:strCache>
                <c:ptCount val="1"/>
                <c:pt idx="0">
                  <c:v>Average daily downloads </c:v>
                </c:pt>
              </c:strCache>
            </c:strRef>
          </c:tx>
          <c:spPr>
            <a:ln w="28575" cap="rnd">
              <a:solidFill>
                <a:schemeClr val="accent6">
                  <a:tint val="58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tint val="58000"/>
                </a:schemeClr>
              </a:solidFill>
              <a:ln w="9525">
                <a:solidFill>
                  <a:schemeClr val="accent6">
                    <a:tint val="58000"/>
                  </a:schemeClr>
                </a:solidFill>
              </a:ln>
              <a:effectLst/>
            </c:spPr>
          </c:marker>
          <c:cat>
            <c:strRef>
              <c:f>Sheet1!$A$2:$A$41</c:f>
              <c:strCache>
                <c:ptCount val="4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</c:strCache>
            </c:strRef>
          </c:cat>
          <c:val>
            <c:numRef>
              <c:f>Sheet1!$H$2:$H$41</c:f>
              <c:numCache>
                <c:formatCode>0</c:formatCode>
                <c:ptCount val="40"/>
                <c:pt idx="0">
                  <c:v>5.5</c:v>
                </c:pt>
                <c:pt idx="1">
                  <c:v>12.714285714285714</c:v>
                </c:pt>
                <c:pt idx="2">
                  <c:v>4.1428571428571432</c:v>
                </c:pt>
                <c:pt idx="3">
                  <c:v>3.1428571428571428</c:v>
                </c:pt>
                <c:pt idx="4">
                  <c:v>6.0000000000000009</c:v>
                </c:pt>
                <c:pt idx="5">
                  <c:v>5.7142857142857135</c:v>
                </c:pt>
                <c:pt idx="6">
                  <c:v>3.8571428571428572</c:v>
                </c:pt>
                <c:pt idx="7">
                  <c:v>3.1428571428571428</c:v>
                </c:pt>
                <c:pt idx="8">
                  <c:v>6.8571428571428577</c:v>
                </c:pt>
                <c:pt idx="9">
                  <c:v>22</c:v>
                </c:pt>
                <c:pt idx="10">
                  <c:v>3.2857142857142856</c:v>
                </c:pt>
                <c:pt idx="11">
                  <c:v>3.8571428571428572</c:v>
                </c:pt>
                <c:pt idx="12">
                  <c:v>2.7142857142857144</c:v>
                </c:pt>
                <c:pt idx="13">
                  <c:v>3</c:v>
                </c:pt>
                <c:pt idx="14">
                  <c:v>2.7142857142857144</c:v>
                </c:pt>
                <c:pt idx="15">
                  <c:v>2.1428571428571428</c:v>
                </c:pt>
                <c:pt idx="16">
                  <c:v>2.4285714285714288</c:v>
                </c:pt>
                <c:pt idx="17">
                  <c:v>3.5714285714285716</c:v>
                </c:pt>
                <c:pt idx="18">
                  <c:v>1.2857142857142856</c:v>
                </c:pt>
                <c:pt idx="19">
                  <c:v>5.4285714285714288</c:v>
                </c:pt>
                <c:pt idx="20">
                  <c:v>5.5714285714285712</c:v>
                </c:pt>
                <c:pt idx="21">
                  <c:v>3.5714285714285712</c:v>
                </c:pt>
                <c:pt idx="22">
                  <c:v>4.1428571428571432</c:v>
                </c:pt>
                <c:pt idx="23">
                  <c:v>3.2857142857142856</c:v>
                </c:pt>
                <c:pt idx="24">
                  <c:v>4</c:v>
                </c:pt>
                <c:pt idx="25">
                  <c:v>3</c:v>
                </c:pt>
                <c:pt idx="26">
                  <c:v>2</c:v>
                </c:pt>
                <c:pt idx="27">
                  <c:v>2</c:v>
                </c:pt>
                <c:pt idx="28">
                  <c:v>2.2857142857142856</c:v>
                </c:pt>
                <c:pt idx="29">
                  <c:v>3.5714285714285716</c:v>
                </c:pt>
                <c:pt idx="30">
                  <c:v>2</c:v>
                </c:pt>
                <c:pt idx="31">
                  <c:v>2.8571428571428568</c:v>
                </c:pt>
                <c:pt idx="32">
                  <c:v>4.1428571428571432</c:v>
                </c:pt>
                <c:pt idx="33">
                  <c:v>2.8571428571428568</c:v>
                </c:pt>
                <c:pt idx="34">
                  <c:v>4.2857142857142856</c:v>
                </c:pt>
                <c:pt idx="35">
                  <c:v>2.7142857142857144</c:v>
                </c:pt>
                <c:pt idx="36">
                  <c:v>2</c:v>
                </c:pt>
                <c:pt idx="37">
                  <c:v>1.7142857142857144</c:v>
                </c:pt>
                <c:pt idx="38">
                  <c:v>3.5714285714285716</c:v>
                </c:pt>
                <c:pt idx="39">
                  <c:v>1.71428571428571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D-2032-4A9B-BA80-B60AB08DFCB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1969664"/>
        <c:axId val="201955584"/>
      </c:lineChart>
      <c:dateAx>
        <c:axId val="201951104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0" vertOverflow="ellipsis" vert="horz" wrap="square" anchor="ctr" anchorCtr="1" forceAA="0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1953664"/>
        <c:crosses val="autoZero"/>
        <c:auto val="0"/>
        <c:lblOffset val="100"/>
        <c:baseTimeUnit val="days"/>
      </c:dateAx>
      <c:valAx>
        <c:axId val="2019536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1951104"/>
        <c:crosses val="autoZero"/>
        <c:crossBetween val="between"/>
      </c:valAx>
      <c:catAx>
        <c:axId val="20196966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01955584"/>
        <c:crosses val="autoZero"/>
        <c:auto val="1"/>
        <c:lblAlgn val="ctr"/>
        <c:lblOffset val="100"/>
        <c:noMultiLvlLbl val="0"/>
      </c:catAx>
      <c:valAx>
        <c:axId val="201955584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196966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7.3312049190020101E-2"/>
          <c:y val="0.86790487762541202"/>
          <c:w val="0.853494146860589"/>
          <c:h val="0.11126540531157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chemeClr val="bg1">
          <a:lumMod val="65000"/>
        </a:schemeClr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0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b="0" cap="none" baseline="0" dirty="0">
                <a:effectLst/>
              </a:rPr>
              <a:t>Monthly Downloads</a:t>
            </a:r>
            <a:endParaRPr lang="zh-CN" altLang="zh-CN" b="0" cap="none" baseline="0" dirty="0"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2200" b="0" i="0" u="none" strike="noStrike" kern="1200" cap="all" spc="5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8.1359786305686299E-2"/>
          <c:y val="0.13424262308120599"/>
          <c:w val="0.85995106020818002"/>
          <c:h val="0.6980410403245049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solidFill>
                <a:srgbClr val="C6C6C6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79</c:v>
                </c:pt>
                <c:pt idx="1">
                  <c:v>85</c:v>
                </c:pt>
                <c:pt idx="2">
                  <c:v>179</c:v>
                </c:pt>
                <c:pt idx="3">
                  <c:v>62</c:v>
                </c:pt>
                <c:pt idx="4">
                  <c:v>65</c:v>
                </c:pt>
                <c:pt idx="5">
                  <c:v>69</c:v>
                </c:pt>
                <c:pt idx="6">
                  <c:v>51</c:v>
                </c:pt>
                <c:pt idx="7">
                  <c:v>69</c:v>
                </c:pt>
                <c:pt idx="8">
                  <c:v>63</c:v>
                </c:pt>
                <c:pt idx="9">
                  <c:v>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EC8-4D2D-A129-7BBD2457787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solidFill>
                <a:srgbClr val="575757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C$2:$C$11</c:f>
              <c:numCache>
                <c:formatCode>General</c:formatCode>
                <c:ptCount val="10"/>
                <c:pt idx="0">
                  <c:v>20</c:v>
                </c:pt>
                <c:pt idx="1">
                  <c:v>54</c:v>
                </c:pt>
                <c:pt idx="2">
                  <c:v>76</c:v>
                </c:pt>
                <c:pt idx="3">
                  <c:v>21</c:v>
                </c:pt>
                <c:pt idx="4">
                  <c:v>51</c:v>
                </c:pt>
                <c:pt idx="5">
                  <c:v>39</c:v>
                </c:pt>
                <c:pt idx="6">
                  <c:v>27</c:v>
                </c:pt>
                <c:pt idx="7">
                  <c:v>25</c:v>
                </c:pt>
                <c:pt idx="8">
                  <c:v>26</c:v>
                </c:pt>
                <c:pt idx="9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EC8-4D2D-A129-7BBD2457787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aidu(Android)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rgbClr val="BB0A30"/>
              </a:solidFill>
              <a:ln w="28575" cap="rnd">
                <a:noFill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AEC8-4D2D-A129-7BBD2457787B}"/>
              </c:ext>
            </c:extLst>
          </c:dPt>
          <c:dLbls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AEC8-4D2D-A129-7BBD2457787B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AEC8-4D2D-A129-7BBD2457787B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E9D-4B75-99DA-D83D93B82078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9140-47AF-9A38-7557EE83EB27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1811-42F6-87A2-AFF6611D9A3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D$2:$D$11</c:f>
              <c:numCache>
                <c:formatCode>General</c:formatCode>
                <c:ptCount val="10"/>
                <c:pt idx="0">
                  <c:v>38</c:v>
                </c:pt>
                <c:pt idx="1">
                  <c:v>1</c:v>
                </c:pt>
                <c:pt idx="2">
                  <c:v>2</c:v>
                </c:pt>
                <c:pt idx="3">
                  <c:v>0</c:v>
                </c:pt>
                <c:pt idx="4">
                  <c:v>0</c:v>
                </c:pt>
                <c:pt idx="5">
                  <c:v>2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AEC8-4D2D-A129-7BBD2457787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2530816"/>
        <c:axId val="202533504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7F7F7F"/>
              </a:solidFill>
              <a:ln w="9525" cap="flat" cmpd="sng" algn="ctr">
                <a:solidFill>
                  <a:schemeClr val="bg1">
                    <a:lumMod val="50000"/>
                  </a:schemeClr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E$2:$E$11</c:f>
              <c:numCache>
                <c:formatCode>0%</c:formatCode>
                <c:ptCount val="10"/>
                <c:pt idx="0">
                  <c:v>#N/A</c:v>
                </c:pt>
                <c:pt idx="1">
                  <c:v>1.0218978102189782</c:v>
                </c:pt>
                <c:pt idx="2">
                  <c:v>1.8357142857142856</c:v>
                </c:pt>
                <c:pt idx="3">
                  <c:v>0.32295719844357978</c:v>
                </c:pt>
                <c:pt idx="4">
                  <c:v>1.3975903614457832</c:v>
                </c:pt>
                <c:pt idx="5">
                  <c:v>0.94827586206896552</c:v>
                </c:pt>
                <c:pt idx="6">
                  <c:v>0.70909090909090911</c:v>
                </c:pt>
                <c:pt idx="7">
                  <c:v>1.2051282051282051</c:v>
                </c:pt>
                <c:pt idx="8">
                  <c:v>0.94680851063829785</c:v>
                </c:pt>
                <c:pt idx="9">
                  <c:v>0.303370786516853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AEC8-4D2D-A129-7BBD2457787B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chemeClr val="accent6">
                  <a:tint val="54000"/>
                </a:schemeClr>
              </a:solidFill>
              <a:round/>
            </a:ln>
            <a:effectLst/>
          </c:spPr>
          <c:marker>
            <c:symbol val="circle"/>
            <c:size val="6"/>
            <c:spPr>
              <a:solidFill>
                <a:srgbClr val="E2BCBF"/>
              </a:solidFill>
              <a:ln w="9525" cap="flat" cmpd="sng" algn="ctr">
                <a:solidFill>
                  <a:schemeClr val="accent6">
                    <a:tint val="54000"/>
                    <a:shade val="95000"/>
                  </a:schemeClr>
                </a:solidFill>
                <a:round/>
              </a:ln>
              <a:effectLst/>
            </c:spPr>
          </c:marker>
          <c:dLbls>
            <c:dLbl>
              <c:idx val="2"/>
              <c:layout>
                <c:manualLayout>
                  <c:x val="-2.2162306095219301E-2"/>
                  <c:y val="3.0303030303030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AEC8-4D2D-A129-7BBD2457787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F$2:$F$11</c:f>
              <c:numCache>
                <c:formatCode>0%</c:formatCode>
                <c:ptCount val="10"/>
                <c:pt idx="0">
                  <c:v>#N/A</c:v>
                </c:pt>
                <c:pt idx="1">
                  <c:v>2.1897810218978103E-2</c:v>
                </c:pt>
                <c:pt idx="2">
                  <c:v>0.83571428571428574</c:v>
                </c:pt>
                <c:pt idx="3">
                  <c:v>-0.67704280155642027</c:v>
                </c:pt>
                <c:pt idx="4">
                  <c:v>0.39759036144578314</c:v>
                </c:pt>
                <c:pt idx="5">
                  <c:v>-5.1724137931034482E-2</c:v>
                </c:pt>
                <c:pt idx="6">
                  <c:v>-0.29090909090909089</c:v>
                </c:pt>
                <c:pt idx="7">
                  <c:v>0.20512820512820512</c:v>
                </c:pt>
                <c:pt idx="8">
                  <c:v>-5.3191489361702128E-2</c:v>
                </c:pt>
                <c:pt idx="9">
                  <c:v>-0.696629213483146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AEC8-4D2D-A129-7BBD2457787B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2545408"/>
        <c:axId val="202543872"/>
      </c:lineChart>
      <c:catAx>
        <c:axId val="20253081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Month</a:t>
                </a:r>
                <a:endParaRPr lang="zh-CN" altLang="en-US" cap="none" baseline="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2533504"/>
        <c:crosses val="autoZero"/>
        <c:auto val="1"/>
        <c:lblAlgn val="ctr"/>
        <c:lblOffset val="100"/>
        <c:noMultiLvlLbl val="0"/>
      </c:catAx>
      <c:valAx>
        <c:axId val="202533504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2530816"/>
        <c:crosses val="autoZero"/>
        <c:crossBetween val="between"/>
      </c:valAx>
      <c:catAx>
        <c:axId val="20254540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02543872"/>
        <c:crosses val="autoZero"/>
        <c:auto val="1"/>
        <c:lblAlgn val="ctr"/>
        <c:lblOffset val="100"/>
        <c:noMultiLvlLbl val="0"/>
      </c:catAx>
      <c:valAx>
        <c:axId val="20254387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2545408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Active Users-CW 02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8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i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3:$A$29</c:f>
              <c:numCache>
                <c:formatCode>m/d;@</c:formatCode>
                <c:ptCount val="7"/>
                <c:pt idx="0">
                  <c:v>43836</c:v>
                </c:pt>
                <c:pt idx="1">
                  <c:v>43837</c:v>
                </c:pt>
                <c:pt idx="2">
                  <c:v>43838</c:v>
                </c:pt>
                <c:pt idx="3">
                  <c:v>43839</c:v>
                </c:pt>
                <c:pt idx="4">
                  <c:v>43840</c:v>
                </c:pt>
                <c:pt idx="5">
                  <c:v>43841</c:v>
                </c:pt>
                <c:pt idx="6">
                  <c:v>43842</c:v>
                </c:pt>
              </c:numCache>
            </c:numRef>
          </c:cat>
          <c:val>
            <c:numRef>
              <c:f>Sheet1!$B$23:$B$29</c:f>
              <c:numCache>
                <c:formatCode>General</c:formatCode>
                <c:ptCount val="7"/>
                <c:pt idx="0">
                  <c:v>1</c:v>
                </c:pt>
                <c:pt idx="1">
                  <c:v>4</c:v>
                </c:pt>
                <c:pt idx="2">
                  <c:v>2</c:v>
                </c:pt>
                <c:pt idx="3">
                  <c:v>4</c:v>
                </c:pt>
                <c:pt idx="4">
                  <c:v>3</c:v>
                </c:pt>
                <c:pt idx="5">
                  <c:v>5</c:v>
                </c:pt>
                <c:pt idx="6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FC-485E-A239-91056AD8468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03061504"/>
        <c:axId val="203085312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1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CFC-485E-A239-91056AD8468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3:$A$29</c:f>
              <c:numCache>
                <c:formatCode>m/d;@</c:formatCode>
                <c:ptCount val="7"/>
                <c:pt idx="0">
                  <c:v>43836</c:v>
                </c:pt>
                <c:pt idx="1">
                  <c:v>43837</c:v>
                </c:pt>
                <c:pt idx="2">
                  <c:v>43838</c:v>
                </c:pt>
                <c:pt idx="3">
                  <c:v>43839</c:v>
                </c:pt>
                <c:pt idx="4">
                  <c:v>43840</c:v>
                </c:pt>
                <c:pt idx="5">
                  <c:v>43841</c:v>
                </c:pt>
                <c:pt idx="6">
                  <c:v>43842</c:v>
                </c:pt>
              </c:numCache>
            </c:numRef>
          </c:cat>
          <c:val>
            <c:numRef>
              <c:f>Sheet1!$C$23:$C$29</c:f>
              <c:numCache>
                <c:formatCode>0%</c:formatCode>
                <c:ptCount val="7"/>
                <c:pt idx="0">
                  <c:v>-0.83333333333333337</c:v>
                </c:pt>
                <c:pt idx="1">
                  <c:v>3</c:v>
                </c:pt>
                <c:pt idx="2">
                  <c:v>-0.5</c:v>
                </c:pt>
                <c:pt idx="3">
                  <c:v>1</c:v>
                </c:pt>
                <c:pt idx="4">
                  <c:v>-0.25</c:v>
                </c:pt>
                <c:pt idx="5">
                  <c:v>0.66666666666666663</c:v>
                </c:pt>
                <c:pt idx="6">
                  <c:v>-0.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CFC-485E-A239-91056AD8468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3093120"/>
        <c:axId val="203087232"/>
      </c:lineChart>
      <c:dateAx>
        <c:axId val="20306150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3085312"/>
        <c:crosses val="autoZero"/>
        <c:auto val="1"/>
        <c:lblOffset val="100"/>
        <c:baseTimeUnit val="days"/>
      </c:dateAx>
      <c:valAx>
        <c:axId val="203085312"/>
        <c:scaling>
          <c:orientation val="minMax"/>
          <c:max val="2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3061504"/>
        <c:crosses val="autoZero"/>
        <c:crossBetween val="between"/>
        <c:majorUnit val="5"/>
      </c:valAx>
      <c:dateAx>
        <c:axId val="203093120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crossAx val="203087232"/>
        <c:crosses val="autoZero"/>
        <c:auto val="1"/>
        <c:lblOffset val="100"/>
        <c:baseTimeUnit val="days"/>
      </c:dateAx>
      <c:valAx>
        <c:axId val="20308723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3093120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Active Users-CW 01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8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i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6:$A$22</c:f>
              <c:numCache>
                <c:formatCode>m/d;@</c:formatCode>
                <c:ptCount val="7"/>
                <c:pt idx="0">
                  <c:v>43829</c:v>
                </c:pt>
                <c:pt idx="1">
                  <c:v>43830</c:v>
                </c:pt>
                <c:pt idx="2">
                  <c:v>43831</c:v>
                </c:pt>
                <c:pt idx="3">
                  <c:v>43832</c:v>
                </c:pt>
                <c:pt idx="4">
                  <c:v>43833</c:v>
                </c:pt>
                <c:pt idx="5">
                  <c:v>43834</c:v>
                </c:pt>
                <c:pt idx="6">
                  <c:v>43835</c:v>
                </c:pt>
              </c:numCache>
            </c:numRef>
          </c:cat>
          <c:val>
            <c:numRef>
              <c:f>Sheet1!$B$16:$B$22</c:f>
              <c:numCache>
                <c:formatCode>General</c:formatCode>
                <c:ptCount val="7"/>
                <c:pt idx="0">
                  <c:v>5</c:v>
                </c:pt>
                <c:pt idx="1">
                  <c:v>5</c:v>
                </c:pt>
                <c:pt idx="2">
                  <c:v>2</c:v>
                </c:pt>
                <c:pt idx="3">
                  <c:v>4</c:v>
                </c:pt>
                <c:pt idx="4">
                  <c:v>5</c:v>
                </c:pt>
                <c:pt idx="5">
                  <c:v>1</c:v>
                </c:pt>
                <c:pt idx="6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116-425D-B137-B70242536F9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03061504"/>
        <c:axId val="203085312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1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116-425D-B137-B70242536F9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6:$A$22</c:f>
              <c:numCache>
                <c:formatCode>m/d;@</c:formatCode>
                <c:ptCount val="7"/>
                <c:pt idx="0">
                  <c:v>43829</c:v>
                </c:pt>
                <c:pt idx="1">
                  <c:v>43830</c:v>
                </c:pt>
                <c:pt idx="2">
                  <c:v>43831</c:v>
                </c:pt>
                <c:pt idx="3">
                  <c:v>43832</c:v>
                </c:pt>
                <c:pt idx="4">
                  <c:v>43833</c:v>
                </c:pt>
                <c:pt idx="5">
                  <c:v>43834</c:v>
                </c:pt>
                <c:pt idx="6">
                  <c:v>43835</c:v>
                </c:pt>
              </c:numCache>
            </c:numRef>
          </c:cat>
          <c:val>
            <c:numRef>
              <c:f>Sheet1!$C$16:$C$22</c:f>
              <c:numCache>
                <c:formatCode>0%</c:formatCode>
                <c:ptCount val="7"/>
                <c:pt idx="0">
                  <c:v>1.5</c:v>
                </c:pt>
                <c:pt idx="1">
                  <c:v>0</c:v>
                </c:pt>
                <c:pt idx="2">
                  <c:v>-0.6</c:v>
                </c:pt>
                <c:pt idx="3">
                  <c:v>1</c:v>
                </c:pt>
                <c:pt idx="4">
                  <c:v>0.25</c:v>
                </c:pt>
                <c:pt idx="5">
                  <c:v>-0.8</c:v>
                </c:pt>
                <c:pt idx="6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116-425D-B137-B70242536F9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3093120"/>
        <c:axId val="203087232"/>
      </c:lineChart>
      <c:dateAx>
        <c:axId val="20306150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3085312"/>
        <c:crosses val="autoZero"/>
        <c:auto val="1"/>
        <c:lblOffset val="100"/>
        <c:baseTimeUnit val="days"/>
      </c:dateAx>
      <c:valAx>
        <c:axId val="203085312"/>
        <c:scaling>
          <c:orientation val="minMax"/>
          <c:max val="2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3061504"/>
        <c:crosses val="autoZero"/>
        <c:crossBetween val="between"/>
        <c:majorUnit val="5"/>
      </c:valAx>
      <c:dateAx>
        <c:axId val="203093120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crossAx val="203087232"/>
        <c:crosses val="autoZero"/>
        <c:auto val="1"/>
        <c:lblOffset val="100"/>
        <c:baseTimeUnit val="days"/>
      </c:dateAx>
      <c:valAx>
        <c:axId val="20308723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3093120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Weekly Active Users</a:t>
            </a:r>
            <a:endParaRPr lang="zh-CN" altLang="en-US" sz="1800" b="0" cap="none" baseline="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2200" b="1" i="0" u="none" strike="noStrike" kern="1200" cap="all" spc="5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6.5767952135167299E-2"/>
          <c:y val="8.8921761618033002E-2"/>
          <c:w val="0.859898913605603"/>
          <c:h val="0.7187849312953530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1</c:f>
              <c:strCache>
                <c:ptCount val="4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</c:strCache>
            </c:strRef>
          </c:cat>
          <c:val>
            <c:numRef>
              <c:f>Sheet1!$B$2:$B$41</c:f>
              <c:numCache>
                <c:formatCode>General</c:formatCode>
                <c:ptCount val="40"/>
                <c:pt idx="0">
                  <c:v>6</c:v>
                </c:pt>
                <c:pt idx="1">
                  <c:v>63</c:v>
                </c:pt>
                <c:pt idx="2">
                  <c:v>33</c:v>
                </c:pt>
                <c:pt idx="3">
                  <c:v>32</c:v>
                </c:pt>
                <c:pt idx="4">
                  <c:v>37</c:v>
                </c:pt>
                <c:pt idx="5">
                  <c:v>28</c:v>
                </c:pt>
                <c:pt idx="6">
                  <c:v>41</c:v>
                </c:pt>
                <c:pt idx="7">
                  <c:v>36</c:v>
                </c:pt>
                <c:pt idx="8">
                  <c:v>38</c:v>
                </c:pt>
                <c:pt idx="9">
                  <c:v>131</c:v>
                </c:pt>
                <c:pt idx="10">
                  <c:v>55</c:v>
                </c:pt>
                <c:pt idx="11">
                  <c:v>36</c:v>
                </c:pt>
                <c:pt idx="12">
                  <c:v>34</c:v>
                </c:pt>
                <c:pt idx="13">
                  <c:v>30</c:v>
                </c:pt>
                <c:pt idx="14">
                  <c:v>20</c:v>
                </c:pt>
                <c:pt idx="15">
                  <c:v>24</c:v>
                </c:pt>
                <c:pt idx="16">
                  <c:v>18</c:v>
                </c:pt>
                <c:pt idx="17">
                  <c:v>33</c:v>
                </c:pt>
                <c:pt idx="18">
                  <c:v>11</c:v>
                </c:pt>
                <c:pt idx="19">
                  <c:v>26</c:v>
                </c:pt>
                <c:pt idx="20">
                  <c:v>31</c:v>
                </c:pt>
                <c:pt idx="21">
                  <c:v>33</c:v>
                </c:pt>
                <c:pt idx="22">
                  <c:v>28</c:v>
                </c:pt>
                <c:pt idx="23">
                  <c:v>30</c:v>
                </c:pt>
                <c:pt idx="24">
                  <c:v>30</c:v>
                </c:pt>
                <c:pt idx="25">
                  <c:v>18</c:v>
                </c:pt>
                <c:pt idx="26">
                  <c:v>20</c:v>
                </c:pt>
                <c:pt idx="27">
                  <c:v>15</c:v>
                </c:pt>
                <c:pt idx="28">
                  <c:v>19</c:v>
                </c:pt>
                <c:pt idx="29">
                  <c:v>30</c:v>
                </c:pt>
                <c:pt idx="30">
                  <c:v>28</c:v>
                </c:pt>
                <c:pt idx="31">
                  <c:v>27</c:v>
                </c:pt>
                <c:pt idx="32">
                  <c:v>30</c:v>
                </c:pt>
                <c:pt idx="33">
                  <c:v>24</c:v>
                </c:pt>
                <c:pt idx="34">
                  <c:v>29</c:v>
                </c:pt>
                <c:pt idx="35">
                  <c:v>21</c:v>
                </c:pt>
                <c:pt idx="36">
                  <c:v>28</c:v>
                </c:pt>
                <c:pt idx="37">
                  <c:v>17</c:v>
                </c:pt>
                <c:pt idx="38">
                  <c:v>28</c:v>
                </c:pt>
                <c:pt idx="39">
                  <c:v>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CE3-49C9-A99D-B8F763DF9B12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05634944"/>
        <c:axId val="20572390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1</c:f>
              <c:strCache>
                <c:ptCount val="4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</c:strCache>
            </c:strRef>
          </c:cat>
          <c:val>
            <c:numRef>
              <c:f>Sheet1!$C$2:$C$41</c:f>
              <c:numCache>
                <c:formatCode>0%</c:formatCode>
                <c:ptCount val="40"/>
                <c:pt idx="0">
                  <c:v>#N/A</c:v>
                </c:pt>
                <c:pt idx="1">
                  <c:v>#N/A</c:v>
                </c:pt>
                <c:pt idx="2" formatCode="0.00%">
                  <c:v>0.47826086956521741</c:v>
                </c:pt>
                <c:pt idx="3" formatCode="0.00%">
                  <c:v>0.31372549019607843</c:v>
                </c:pt>
                <c:pt idx="4" formatCode="0.00%">
                  <c:v>0.27611940298507465</c:v>
                </c:pt>
                <c:pt idx="5" formatCode="0.00%">
                  <c:v>0.16374269005847952</c:v>
                </c:pt>
                <c:pt idx="6" formatCode="0.00%">
                  <c:v>0.20603015075376885</c:v>
                </c:pt>
                <c:pt idx="7" formatCode="0.00%">
                  <c:v>0.15</c:v>
                </c:pt>
                <c:pt idx="8" formatCode="0.00%">
                  <c:v>0.13768115942028986</c:v>
                </c:pt>
                <c:pt idx="9" formatCode="0.00%">
                  <c:v>0.41719745222929938</c:v>
                </c:pt>
                <c:pt idx="10" formatCode="0.00%">
                  <c:v>0.12359550561797752</c:v>
                </c:pt>
                <c:pt idx="11" formatCode="0.00%">
                  <c:v>7.1999999999999995E-2</c:v>
                </c:pt>
                <c:pt idx="12" formatCode="0.00%">
                  <c:v>6.3432835820895525E-2</c:v>
                </c:pt>
                <c:pt idx="13" formatCode="0.00%">
                  <c:v>5.2631578947368418E-2</c:v>
                </c:pt>
                <c:pt idx="14" formatCode="0.00%">
                  <c:v>3.3333333333333333E-2</c:v>
                </c:pt>
                <c:pt idx="15" formatCode="0.00%">
                  <c:v>3.870967741935484E-2</c:v>
                </c:pt>
                <c:pt idx="16" formatCode="0.00%">
                  <c:v>2.7950310559006212E-2</c:v>
                </c:pt>
                <c:pt idx="17" formatCode="0.00%">
                  <c:v>4.9848942598187312E-2</c:v>
                </c:pt>
                <c:pt idx="18" formatCode="0.00%">
                  <c:v>1.5827338129496403E-2</c:v>
                </c:pt>
                <c:pt idx="19" formatCode="0.00%">
                  <c:v>3.6827195467422094E-2</c:v>
                </c:pt>
                <c:pt idx="20" formatCode="0.00%">
                  <c:v>4.2349726775956283E-2</c:v>
                </c:pt>
                <c:pt idx="21" formatCode="0.00%">
                  <c:v>4.3250327653997382E-2</c:v>
                </c:pt>
                <c:pt idx="22" formatCode="0.00%">
                  <c:v>3.5175879396984924E-2</c:v>
                </c:pt>
                <c:pt idx="23" formatCode="0.00%">
                  <c:v>3.640776699029126E-2</c:v>
                </c:pt>
                <c:pt idx="24" formatCode="0.00%">
                  <c:v>3.5128805620608897E-2</c:v>
                </c:pt>
                <c:pt idx="25" formatCode="0.00%">
                  <c:v>2.0361990950226245E-2</c:v>
                </c:pt>
                <c:pt idx="26" formatCode="0.00%">
                  <c:v>2.2172949002217297E-2</c:v>
                </c:pt>
                <c:pt idx="27" formatCode="0.00%">
                  <c:v>1.6268980477223426E-2</c:v>
                </c:pt>
                <c:pt idx="28" formatCode="0.00%">
                  <c:v>2.0277481323372464E-2</c:v>
                </c:pt>
                <c:pt idx="29" formatCode="0.00%">
                  <c:v>3.1380753138075312E-2</c:v>
                </c:pt>
                <c:pt idx="30" formatCode="0.00%">
                  <c:v>2.8397565922920892E-2</c:v>
                </c:pt>
                <c:pt idx="31" formatCode="0.00%">
                  <c:v>2.6627218934911243E-2</c:v>
                </c:pt>
                <c:pt idx="32" formatCode="0.00%">
                  <c:v>2.8818443804034581E-2</c:v>
                </c:pt>
                <c:pt idx="33" formatCode="0.00%">
                  <c:v>2.2408963585434174E-2</c:v>
                </c:pt>
                <c:pt idx="34" formatCode="0.00%">
                  <c:v>2.6484018264840183E-2</c:v>
                </c:pt>
                <c:pt idx="35" formatCode="0.00%">
                  <c:v>1.8683274021352312E-2</c:v>
                </c:pt>
                <c:pt idx="36" formatCode="0.00%">
                  <c:v>2.4454148471615721E-2</c:v>
                </c:pt>
                <c:pt idx="37" formatCode="0.00%">
                  <c:v>1.4492753623188406E-2</c:v>
                </c:pt>
                <c:pt idx="38" formatCode="0.00%">
                  <c:v>2.3529411764705882E-2</c:v>
                </c:pt>
                <c:pt idx="39" formatCode="0.00%">
                  <c:v>1.7241379310344827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CE3-49C9-A99D-B8F763DF9B1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rgbClr val="C4C4C4"/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1</c:f>
              <c:strCache>
                <c:ptCount val="40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</c:strCache>
            </c:strRef>
          </c:cat>
          <c:val>
            <c:numRef>
              <c:f>Sheet1!$D$2:$D$41</c:f>
              <c:numCache>
                <c:formatCode>General</c:formatCode>
                <c:ptCount val="40"/>
                <c:pt idx="0" formatCode="0%">
                  <c:v>#N/A</c:v>
                </c:pt>
                <c:pt idx="1">
                  <c:v>#N/A</c:v>
                </c:pt>
                <c:pt idx="2" formatCode="0.00%">
                  <c:v>-0.47619047619047616</c:v>
                </c:pt>
                <c:pt idx="3" formatCode="0.00%">
                  <c:v>-3.0303030303030304E-2</c:v>
                </c:pt>
                <c:pt idx="4" formatCode="0.00%">
                  <c:v>0.15625</c:v>
                </c:pt>
                <c:pt idx="5" formatCode="0.00%">
                  <c:v>-0.24324324324324326</c:v>
                </c:pt>
                <c:pt idx="6" formatCode="0.00%">
                  <c:v>0.4642857142857143</c:v>
                </c:pt>
                <c:pt idx="7" formatCode="0.00%">
                  <c:v>-0.12195121951219512</c:v>
                </c:pt>
                <c:pt idx="8" formatCode="0.00%">
                  <c:v>5.5555555555555552E-2</c:v>
                </c:pt>
                <c:pt idx="9" formatCode="0.00%">
                  <c:v>2.4473684210526314</c:v>
                </c:pt>
                <c:pt idx="10" formatCode="0.00%">
                  <c:v>-0.58015267175572516</c:v>
                </c:pt>
                <c:pt idx="11" formatCode="0.00%">
                  <c:v>-0.34545454545454546</c:v>
                </c:pt>
                <c:pt idx="12" formatCode="0.00%">
                  <c:v>-5.5555555555555552E-2</c:v>
                </c:pt>
                <c:pt idx="13" formatCode="0.00%">
                  <c:v>-0.11764705882352941</c:v>
                </c:pt>
                <c:pt idx="14" formatCode="0.00%">
                  <c:v>-0.33333333333333331</c:v>
                </c:pt>
                <c:pt idx="15" formatCode="0.00%">
                  <c:v>0.2</c:v>
                </c:pt>
                <c:pt idx="16" formatCode="0.00%">
                  <c:v>-0.25</c:v>
                </c:pt>
                <c:pt idx="17" formatCode="0.00%">
                  <c:v>0.83333333333333337</c:v>
                </c:pt>
                <c:pt idx="18" formatCode="0.00%">
                  <c:v>-0.66666666666666663</c:v>
                </c:pt>
                <c:pt idx="19" formatCode="0.00%">
                  <c:v>1.3636363636363635</c:v>
                </c:pt>
                <c:pt idx="20" formatCode="0.00%">
                  <c:v>0.19230769230769232</c:v>
                </c:pt>
                <c:pt idx="21" formatCode="0.00%">
                  <c:v>6.4516129032258063E-2</c:v>
                </c:pt>
                <c:pt idx="22" formatCode="0.00%">
                  <c:v>-0.15151515151515152</c:v>
                </c:pt>
                <c:pt idx="23" formatCode="0.00%">
                  <c:v>7.1428571428571425E-2</c:v>
                </c:pt>
                <c:pt idx="24" formatCode="0.00%">
                  <c:v>0</c:v>
                </c:pt>
                <c:pt idx="25" formatCode="0.00%">
                  <c:v>-0.4</c:v>
                </c:pt>
                <c:pt idx="26" formatCode="0.00%">
                  <c:v>0.1111111111111111</c:v>
                </c:pt>
                <c:pt idx="27" formatCode="0.00%">
                  <c:v>-0.25</c:v>
                </c:pt>
                <c:pt idx="28" formatCode="0.00%">
                  <c:v>0.26666666666666666</c:v>
                </c:pt>
                <c:pt idx="29" formatCode="0.00%">
                  <c:v>0.57894736842105265</c:v>
                </c:pt>
                <c:pt idx="30" formatCode="0.00%">
                  <c:v>-6.6666666666666666E-2</c:v>
                </c:pt>
                <c:pt idx="31" formatCode="0.00%">
                  <c:v>-3.5714285714285712E-2</c:v>
                </c:pt>
                <c:pt idx="32" formatCode="0.00%">
                  <c:v>0.1111111111111111</c:v>
                </c:pt>
                <c:pt idx="33" formatCode="0.00%">
                  <c:v>-0.2</c:v>
                </c:pt>
                <c:pt idx="34" formatCode="0.00%">
                  <c:v>0.20833333333333334</c:v>
                </c:pt>
                <c:pt idx="35" formatCode="0.00%">
                  <c:v>-0.27586206896551724</c:v>
                </c:pt>
                <c:pt idx="36" formatCode="0.00%">
                  <c:v>0.33333333333333331</c:v>
                </c:pt>
                <c:pt idx="37" formatCode="0.00%">
                  <c:v>-0.39285714285714285</c:v>
                </c:pt>
                <c:pt idx="38" formatCode="0.00%">
                  <c:v>0.6470588235294118</c:v>
                </c:pt>
                <c:pt idx="39" formatCode="0.00%">
                  <c:v>-0.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CE3-49C9-A99D-B8F763DF9B12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5728384"/>
        <c:axId val="205726464"/>
      </c:lineChart>
      <c:catAx>
        <c:axId val="20563494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95" b="0" i="0" u="none" strike="noStrike" cap="all" baseline="0" dirty="0">
                    <a:effectLst/>
                  </a:rPr>
                  <a:t>2019-2020 </a:t>
                </a:r>
                <a:r>
                  <a:rPr lang="en-US" altLang="zh-CN" sz="1200" b="0" i="0" cap="none" baseline="0" dirty="0">
                    <a:effectLst/>
                  </a:rPr>
                  <a:t>Calendar Weeks</a:t>
                </a:r>
                <a:endParaRPr lang="zh-CN" altLang="zh-CN" sz="1200" cap="none" baseline="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5723904"/>
        <c:crosses val="autoZero"/>
        <c:auto val="1"/>
        <c:lblAlgn val="ctr"/>
        <c:lblOffset val="100"/>
        <c:noMultiLvlLbl val="0"/>
      </c:catAx>
      <c:valAx>
        <c:axId val="205723904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cap="none" baseline="0" dirty="0">
                    <a:effectLst/>
                  </a:rPr>
                  <a:t>Amount</a:t>
                </a:r>
                <a:endParaRPr lang="zh-CN" altLang="zh-CN" sz="1200" cap="none" baseline="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zh-CN" sz="1195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5634944"/>
        <c:crosses val="autoZero"/>
        <c:crossBetween val="between"/>
      </c:valAx>
      <c:catAx>
        <c:axId val="20572838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05726464"/>
        <c:crosses val="autoZero"/>
        <c:auto val="1"/>
        <c:lblAlgn val="ctr"/>
        <c:lblOffset val="100"/>
        <c:noMultiLvlLbl val="0"/>
      </c:catAx>
      <c:valAx>
        <c:axId val="205726464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572838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0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1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2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3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4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5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6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7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8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9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0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1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2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3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4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8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30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1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2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3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4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35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36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37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4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5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6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7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8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9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1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2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2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2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30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31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3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4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3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7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84661</cdr:x>
      <cdr:y>0.00365</cdr:y>
    </cdr:from>
    <cdr:to>
      <cdr:x>0.98671</cdr:x>
      <cdr:y>0.05614</cdr:y>
    </cdr:to>
    <cdr:sp macro="" textlink="">
      <cdr:nvSpPr>
        <cdr:cNvPr id="2" name="矩形 1"/>
        <cdr:cNvSpPr/>
      </cdr:nvSpPr>
      <cdr:spPr>
        <a:xfrm xmlns:a="http://schemas.openxmlformats.org/drawingml/2006/main">
          <a:off x="4562475" y="12939"/>
          <a:ext cx="755015" cy="186205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="horz" wrap="none" lIns="0" tIns="0" rIns="0" bIns="0" rtlCol="0" anchor="t" anchorCtr="0">
          <a:spAutoFit/>
        </a:bodyPr>
        <a:lstStyle xmlns:a="http://schemas.openxmlformats.org/drawingml/2006/main">
          <a:defPPr>
            <a:defRPr lang="de-DE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0" marR="0" indent="0" defTabSz="914400" eaLnBrk="1" fontAlgn="auto" latinLnBrk="0" hangingPunct="1">
            <a:lnSpc>
              <a:spcPct val="11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</a:pPr>
          <a:r>
            <a:rPr lang="en-US" sz="1100" kern="0" noProof="0" dirty="0"/>
            <a:t>Unit: Times</a:t>
          </a:r>
          <a:endParaRPr kumimoji="0" lang="en-US" sz="1100" b="0" i="0" u="none" strike="noStrike" kern="0" cap="none" spc="0" normalizeH="0" baseline="0" noProof="0" dirty="0">
            <a:ln>
              <a:noFill/>
            </a:ln>
            <a:effectLst/>
            <a:uLnTx/>
            <a:uFillTx/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84661</cdr:x>
      <cdr:y>0.00365</cdr:y>
    </cdr:from>
    <cdr:to>
      <cdr:x>0.98671</cdr:x>
      <cdr:y>0.05614</cdr:y>
    </cdr:to>
    <cdr:sp macro="" textlink="">
      <cdr:nvSpPr>
        <cdr:cNvPr id="2" name="矩形 1"/>
        <cdr:cNvSpPr/>
      </cdr:nvSpPr>
      <cdr:spPr>
        <a:xfrm xmlns:a="http://schemas.openxmlformats.org/drawingml/2006/main">
          <a:off x="4562475" y="12939"/>
          <a:ext cx="755015" cy="186205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="horz" wrap="none" lIns="0" tIns="0" rIns="0" bIns="0" rtlCol="0" anchor="t" anchorCtr="0">
          <a:spAutoFit/>
        </a:bodyPr>
        <a:lstStyle xmlns:a="http://schemas.openxmlformats.org/drawingml/2006/main">
          <a:defPPr>
            <a:defRPr lang="de-DE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0" marR="0" indent="0" defTabSz="914400" eaLnBrk="1" fontAlgn="auto" latinLnBrk="0" hangingPunct="1">
            <a:lnSpc>
              <a:spcPct val="11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</a:pPr>
          <a:r>
            <a:rPr lang="en-US" sz="1100" kern="0" noProof="0" dirty="0"/>
            <a:t>Unit: Times</a:t>
          </a:r>
          <a:endParaRPr kumimoji="0" lang="en-US" sz="1100" b="0" i="0" u="none" strike="noStrike" kern="0" cap="none" spc="0" normalizeH="0" baseline="0" noProof="0" dirty="0">
            <a:ln>
              <a:noFill/>
            </a:ln>
            <a:effectLst/>
            <a:uLnTx/>
            <a:uFillTx/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AA75A0-C9D0-4B3F-90BC-8AB9A354A6C2}" type="datetimeFigureOut">
              <a:rPr lang="de-DE" smtClean="0"/>
              <a:t>20.01.2020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FD965F0-0622-4810-9925-69BF6AF2077F}" type="slidenum">
              <a:rPr lang="de-DE" smtClean="0"/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B1C147-AF00-4028-8E5C-577761F9EE39}" type="datetimeFigureOut">
              <a:rPr lang="de-DE" smtClean="0"/>
              <a:t>20.01.20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368660" y="4343400"/>
            <a:ext cx="6120680" cy="4114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179705" lvl="0" indent="-179705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150000"/>
              <a:buFont typeface="Audi Type" pitchFamily="34" charset="0"/>
              <a:buChar char="›"/>
            </a:pPr>
            <a:r>
              <a:rPr lang="de-DE" dirty="0"/>
              <a:t>Textmasterformat bearbeiten</a:t>
            </a:r>
          </a:p>
          <a:p>
            <a:pPr marL="360045" lvl="1" indent="-179705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150000"/>
              <a:buFont typeface="Audi Type" pitchFamily="34" charset="0"/>
              <a:buChar char="›"/>
            </a:pPr>
            <a:r>
              <a:rPr lang="de-DE" dirty="0"/>
              <a:t>Zweite Ebene</a:t>
            </a:r>
          </a:p>
          <a:p>
            <a:pPr marL="539750" lvl="2" indent="-179705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150000"/>
              <a:buFont typeface="Audi Type" pitchFamily="34" charset="0"/>
              <a:buChar char="›"/>
            </a:pPr>
            <a:r>
              <a:rPr lang="de-DE" dirty="0"/>
              <a:t>Dritte Ebene</a:t>
            </a:r>
          </a:p>
          <a:p>
            <a:pPr marL="720090" lvl="3" indent="-179705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150000"/>
              <a:buFont typeface="Audi Type" pitchFamily="34" charset="0"/>
              <a:buChar char="›"/>
            </a:pPr>
            <a:r>
              <a:rPr lang="de-DE" dirty="0"/>
              <a:t>Vierte Ebene</a:t>
            </a:r>
          </a:p>
          <a:p>
            <a:pPr marL="899795" lvl="4" indent="-179705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150000"/>
              <a:buFont typeface="Audi Type" pitchFamily="34" charset="0"/>
              <a:buChar char="›"/>
            </a:pPr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321989A-92A0-46B8-8882-64828DCB153E}" type="slidenum">
              <a:rPr lang="de-DE" smtClean="0"/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lang="de-DE" sz="1200" kern="1200" dirty="0" smtClean="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lang="de-DE" sz="1200" kern="1200" dirty="0" smtClean="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lang="de-DE" sz="1200" kern="1200" dirty="0" smtClean="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lang="de-DE" sz="1200" kern="1200" dirty="0" smtClean="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lang="de-DE" sz="1200" kern="1200" dirty="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21989A-92A0-46B8-8882-64828DCB153E}" type="slidenum">
              <a:rPr lang="de-DE" smtClean="0"/>
              <a:t>30</a:t>
            </a:fld>
            <a:endParaRPr 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326" y="3897313"/>
            <a:ext cx="11340000" cy="251767"/>
          </a:xfrm>
        </p:spPr>
        <p:txBody>
          <a:bodyPr anchor="t"/>
          <a:lstStyle>
            <a:lvl1pPr marL="0" indent="0" algn="l">
              <a:buNone/>
              <a:defRPr sz="1400" b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Add sub-title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 bwMode="gray">
          <a:xfrm>
            <a:off x="695326" y="3573016"/>
            <a:ext cx="11340000" cy="288032"/>
          </a:xfrm>
        </p:spPr>
        <p:txBody>
          <a:bodyPr anchor="t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Add title</a:t>
            </a:r>
            <a:endParaRPr lang="en-GB" noProof="0" dirty="0"/>
          </a:p>
        </p:txBody>
      </p:sp>
      <p:pic>
        <p:nvPicPr>
          <p:cNvPr id="6" name="Bild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2565400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 bwMode="gray">
          <a:xfrm>
            <a:off x="695400" y="1341438"/>
            <a:ext cx="5616000" cy="5364162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</a:p>
          <a:p>
            <a:pPr lvl="1"/>
            <a:r>
              <a:rPr lang="en-US" noProof="0"/>
              <a:t>Second level: First bullet point level</a:t>
            </a:r>
          </a:p>
          <a:p>
            <a:pPr lvl="2"/>
            <a:r>
              <a:rPr lang="en-US" noProof="0"/>
              <a:t>Third level: Second bullet point level</a:t>
            </a:r>
          </a:p>
          <a:p>
            <a:pPr lvl="3"/>
            <a:r>
              <a:rPr lang="en-US" noProof="0"/>
              <a:t>Fourth level: Third bullet point level</a:t>
            </a:r>
          </a:p>
          <a:p>
            <a:pPr lvl="4"/>
            <a:r>
              <a:rPr lang="en-US" noProof="0"/>
              <a:t>Fifth level: Fourth bullet point level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4" hasCustomPrompt="1"/>
          </p:nvPr>
        </p:nvSpPr>
        <p:spPr bwMode="gray">
          <a:xfrm>
            <a:off x="6420660" y="1341438"/>
            <a:ext cx="5616000" cy="5364162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</a:p>
          <a:p>
            <a:pPr lvl="1"/>
            <a:r>
              <a:rPr lang="en-US" noProof="0"/>
              <a:t>Second level: First bullet point level</a:t>
            </a:r>
          </a:p>
          <a:p>
            <a:pPr lvl="2"/>
            <a:r>
              <a:rPr lang="en-US" noProof="0"/>
              <a:t>Third level: Second bullet point level</a:t>
            </a:r>
          </a:p>
          <a:p>
            <a:pPr lvl="3"/>
            <a:r>
              <a:rPr lang="en-US" noProof="0"/>
              <a:t>Fourth level: Third bullet point level</a:t>
            </a:r>
          </a:p>
          <a:p>
            <a:pPr lvl="4"/>
            <a:r>
              <a:rPr lang="en-US" noProof="0"/>
              <a:t>Fifth level: Fourth bullet point level</a:t>
            </a:r>
          </a:p>
        </p:txBody>
      </p:sp>
      <p:sp>
        <p:nvSpPr>
          <p:cNvPr id="10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6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  <a:t>‹#›</a:t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 with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 bwMode="gray">
          <a:xfrm>
            <a:off x="695400" y="1916832"/>
            <a:ext cx="5616000" cy="4788768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</a:p>
          <a:p>
            <a:pPr lvl="1"/>
            <a:r>
              <a:rPr lang="en-US" noProof="0"/>
              <a:t>Second level: First bullet point level</a:t>
            </a:r>
          </a:p>
          <a:p>
            <a:pPr lvl="2"/>
            <a:r>
              <a:rPr lang="en-US" noProof="0"/>
              <a:t>Third level: Second bullet point level</a:t>
            </a:r>
          </a:p>
          <a:p>
            <a:pPr lvl="3"/>
            <a:r>
              <a:rPr lang="en-US" noProof="0"/>
              <a:t>Fourth level: Third bullet point level</a:t>
            </a:r>
          </a:p>
          <a:p>
            <a:pPr lvl="4"/>
            <a:r>
              <a:rPr lang="en-US" noProof="0"/>
              <a:t>Fifth level: Fourth bullet point level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4" hasCustomPrompt="1"/>
          </p:nvPr>
        </p:nvSpPr>
        <p:spPr bwMode="gray">
          <a:xfrm>
            <a:off x="6417487" y="1916832"/>
            <a:ext cx="5616000" cy="4788768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</a:p>
          <a:p>
            <a:pPr lvl="1"/>
            <a:r>
              <a:rPr lang="en-US" noProof="0"/>
              <a:t>Second level: First bullet point level</a:t>
            </a:r>
          </a:p>
          <a:p>
            <a:pPr lvl="2"/>
            <a:r>
              <a:rPr lang="en-US" noProof="0"/>
              <a:t>Third level: Second bullet point level</a:t>
            </a:r>
          </a:p>
          <a:p>
            <a:pPr lvl="3"/>
            <a:r>
              <a:rPr lang="en-US" noProof="0"/>
              <a:t>Fourth level: Third bullet point level</a:t>
            </a:r>
          </a:p>
          <a:p>
            <a:pPr lvl="4"/>
            <a:r>
              <a:rPr lang="en-US" noProof="0"/>
              <a:t>Fifth level: Fourth bullet point lev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95400" y="1341438"/>
            <a:ext cx="5616000" cy="396000"/>
          </a:xfrm>
          <a:noFill/>
        </p:spPr>
        <p:txBody>
          <a:bodyPr lIns="0" tIns="108000" bIns="108000"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Add text</a:t>
            </a:r>
            <a:endParaRPr lang="en-GB" noProof="0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417486" y="1341438"/>
            <a:ext cx="5616000" cy="396000"/>
          </a:xfrm>
          <a:noFill/>
        </p:spPr>
        <p:txBody>
          <a:bodyPr lIns="0" tIns="108000" bIns="108000"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Add text</a:t>
            </a:r>
            <a:endParaRPr lang="en-GB" noProof="0" dirty="0"/>
          </a:p>
        </p:txBody>
      </p:sp>
      <p:cxnSp>
        <p:nvCxnSpPr>
          <p:cNvPr id="10" name="Gerade Verbindung 9"/>
          <p:cNvCxnSpPr/>
          <p:nvPr/>
        </p:nvCxnSpPr>
        <p:spPr bwMode="gray">
          <a:xfrm>
            <a:off x="695400" y="1736812"/>
            <a:ext cx="5616000" cy="0"/>
          </a:xfrm>
          <a:prstGeom prst="line">
            <a:avLst/>
          </a:prstGeom>
          <a:noFill/>
          <a:ln w="28575" cap="flat" cmpd="sng" algn="ctr">
            <a:solidFill>
              <a:schemeClr val="tx1"/>
            </a:solidFill>
            <a:prstDash val="solid"/>
          </a:ln>
          <a:effectLst/>
        </p:spPr>
      </p:cxnSp>
      <p:cxnSp>
        <p:nvCxnSpPr>
          <p:cNvPr id="11" name="Gerade Verbindung 10"/>
          <p:cNvCxnSpPr/>
          <p:nvPr/>
        </p:nvCxnSpPr>
        <p:spPr bwMode="gray">
          <a:xfrm>
            <a:off x="6420660" y="1736812"/>
            <a:ext cx="5616000" cy="0"/>
          </a:xfrm>
          <a:prstGeom prst="line">
            <a:avLst/>
          </a:prstGeom>
          <a:noFill/>
          <a:ln w="28575" cap="flat" cmpd="sng" algn="ctr">
            <a:solidFill>
              <a:schemeClr val="tx1"/>
            </a:solidFill>
            <a:prstDash val="solid"/>
          </a:ln>
          <a:effectLst/>
        </p:spPr>
      </p:cxnSp>
      <p:sp>
        <p:nvSpPr>
          <p:cNvPr id="12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 Conten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4" hasCustomPrompt="1"/>
          </p:nvPr>
        </p:nvSpPr>
        <p:spPr bwMode="gray">
          <a:xfrm>
            <a:off x="6420660" y="1341438"/>
            <a:ext cx="5616000" cy="5364162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</a:p>
          <a:p>
            <a:pPr lvl="1"/>
            <a:r>
              <a:rPr lang="en-US" noProof="0"/>
              <a:t>Second level: First bullet point level</a:t>
            </a:r>
          </a:p>
          <a:p>
            <a:pPr lvl="2"/>
            <a:r>
              <a:rPr lang="en-US" noProof="0"/>
              <a:t>Third level: Second bullet point level</a:t>
            </a:r>
          </a:p>
          <a:p>
            <a:pPr lvl="3"/>
            <a:r>
              <a:rPr lang="en-US" noProof="0"/>
              <a:t>Fourth level: Third bullet point level</a:t>
            </a:r>
          </a:p>
          <a:p>
            <a:pPr lvl="4"/>
            <a:r>
              <a:rPr lang="en-US" noProof="0"/>
              <a:t>Fifth level: Fourth bullet point level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95400" y="1341438"/>
            <a:ext cx="5616000" cy="5364163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lang="de-DE" sz="1600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</a:p>
        </p:txBody>
      </p:sp>
      <p:sp>
        <p:nvSpPr>
          <p:cNvPr id="8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eft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 bwMode="gray">
          <a:xfrm>
            <a:off x="695400" y="1341439"/>
            <a:ext cx="5616000" cy="5364161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</a:p>
          <a:p>
            <a:pPr lvl="1"/>
            <a:r>
              <a:rPr lang="en-US" noProof="0"/>
              <a:t>Second level: First bullet point level</a:t>
            </a:r>
          </a:p>
          <a:p>
            <a:pPr lvl="2"/>
            <a:r>
              <a:rPr lang="en-US" noProof="0"/>
              <a:t>Third level: Second bullet point level</a:t>
            </a:r>
          </a:p>
          <a:p>
            <a:pPr lvl="3"/>
            <a:r>
              <a:rPr lang="en-US" noProof="0"/>
              <a:t>Fourth level: Third bullet point level</a:t>
            </a:r>
          </a:p>
          <a:p>
            <a:pPr lvl="4"/>
            <a:r>
              <a:rPr lang="en-US" noProof="0"/>
              <a:t>Fifth level: Fourth bullet point level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420036" y="1341438"/>
            <a:ext cx="5616000" cy="5364162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lang="de-DE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</a:p>
        </p:txBody>
      </p:sp>
      <p:sp>
        <p:nvSpPr>
          <p:cNvPr id="9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6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  <a:t>‹#›</a:t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chart: 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12192000" cy="6858000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lang="de-DE"/>
            </a:lvl1pPr>
          </a:lstStyle>
          <a:p>
            <a:pPr lvl="0" algn="ctr"/>
            <a:r>
              <a:rPr lang="en-GB" noProof="0" dirty="0"/>
              <a:t>Drop image on placeholder or add it by clicking on the ico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</a:p>
        </p:txBody>
      </p:sp>
      <p:pic>
        <p:nvPicPr>
          <p:cNvPr id="6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1283" y="76199"/>
            <a:ext cx="692117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  <a:t>‹#›</a:t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chart: one 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3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695399" y="1341438"/>
            <a:ext cx="11341025" cy="5364162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defRPr lang="de-DE" dirty="0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</a:p>
        </p:txBody>
      </p:sp>
      <p:pic>
        <p:nvPicPr>
          <p:cNvPr id="7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1283" y="76199"/>
            <a:ext cx="692117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8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  <a:t>‹#›</a:t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chart: Multi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695400" y="1341438"/>
            <a:ext cx="5616000" cy="2628528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defRPr lang="de-DE" dirty="0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695400" y="4077072"/>
            <a:ext cx="5616000" cy="2628528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lang="de-DE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6420036" y="1341438"/>
            <a:ext cx="5616000" cy="2628528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defRPr lang="de-DE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420037" y="4077072"/>
            <a:ext cx="5616000" cy="2628528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defRPr lang="de-DE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</a:p>
        </p:txBody>
      </p:sp>
      <p:pic>
        <p:nvPicPr>
          <p:cNvPr id="11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1283" y="76199"/>
            <a:ext cx="692117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2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  <a:t>‹#›</a:t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324" y="2522272"/>
            <a:ext cx="11340000" cy="815608"/>
          </a:xfrm>
        </p:spPr>
        <p:txBody>
          <a:bodyPr anchor="b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5300" b="1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Add title</a:t>
            </a:r>
            <a:endParaRPr lang="en-GB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 bwMode="gray">
          <a:xfrm>
            <a:off x="695324" y="3537012"/>
            <a:ext cx="11340000" cy="286617"/>
          </a:xfrm>
        </p:spPr>
        <p:txBody>
          <a:bodyPr anchor="t" anchorCtr="0">
            <a:spAutoFit/>
          </a:bodyPr>
          <a:lstStyle>
            <a:lvl1pPr>
              <a:lnSpc>
                <a:spcPct val="110000"/>
              </a:lnSpc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Add sub-title</a:t>
            </a:r>
          </a:p>
        </p:txBody>
      </p:sp>
      <p:pic>
        <p:nvPicPr>
          <p:cNvPr id="6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: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noAutofit/>
          </a:bodyPr>
          <a:lstStyle/>
          <a:p>
            <a:pPr algn="l">
              <a:lnSpc>
                <a:spcPct val="110000"/>
              </a:lnSpc>
              <a:spcBef>
                <a:spcPts val="800"/>
              </a:spcBef>
              <a:spcAft>
                <a:spcPts val="600"/>
              </a:spcAft>
            </a:pPr>
            <a:endParaRPr lang="en-GB" sz="1400" b="1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95324" y="3448113"/>
            <a:ext cx="11340000" cy="756084"/>
          </a:xfrm>
          <a:noFill/>
        </p:spPr>
        <p:txBody>
          <a:bodyPr lIns="0" tIns="0" rIns="0" bIns="0" anchor="t"/>
          <a:lstStyle>
            <a:lvl1pPr>
              <a:lnSpc>
                <a:spcPct val="100000"/>
              </a:lnSpc>
              <a:spcBef>
                <a:spcPts val="0"/>
              </a:spcBef>
              <a:defRPr sz="53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Add title</a:t>
            </a:r>
            <a:endParaRPr lang="en-GB" noProof="0" dirty="0"/>
          </a:p>
        </p:txBody>
      </p:sp>
      <p:pic>
        <p:nvPicPr>
          <p:cNvPr id="6" name="Bild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2565400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/>
          <p:nvPr userDrawn="1"/>
        </p:nvSpPr>
        <p:spPr>
          <a:xfrm>
            <a:off x="684212" y="6536323"/>
            <a:ext cx="1219200" cy="1572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de-DE" sz="1000" dirty="0">
                <a:solidFill>
                  <a:schemeClr val="bg1"/>
                </a:solidFill>
              </a:rPr>
              <a:t> KSU: 0.2</a:t>
            </a:r>
            <a:endParaRPr kumimoji="0" lang="en-US" sz="1000" b="0" i="0" u="none" strike="noStrike" kern="0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: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95324" y="3448113"/>
            <a:ext cx="11340000" cy="756084"/>
          </a:xfrm>
          <a:noFill/>
        </p:spPr>
        <p:txBody>
          <a:bodyPr lIns="0" tIns="0" rIns="0" bIns="0" anchor="t"/>
          <a:lstStyle>
            <a:lvl1pPr>
              <a:lnSpc>
                <a:spcPct val="100000"/>
              </a:lnSpc>
              <a:spcBef>
                <a:spcPts val="0"/>
              </a:spcBef>
              <a:defRPr sz="53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Add title</a:t>
            </a:r>
            <a:endParaRPr lang="en-GB" noProof="0" dirty="0"/>
          </a:p>
        </p:txBody>
      </p:sp>
      <p:pic>
        <p:nvPicPr>
          <p:cNvPr id="5" name="Bild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2565400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/>
          <p:nvPr userDrawn="1"/>
        </p:nvSpPr>
        <p:spPr>
          <a:xfrm>
            <a:off x="684212" y="6536323"/>
            <a:ext cx="12192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de-DE" sz="1000" dirty="0"/>
              <a:t> KSU: 0.2</a:t>
            </a:r>
            <a:endParaRPr kumimoji="0" lang="en-US" sz="1000" b="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326" y="5084950"/>
            <a:ext cx="11340000" cy="251767"/>
          </a:xfrm>
        </p:spPr>
        <p:txBody>
          <a:bodyPr anchor="t"/>
          <a:lstStyle>
            <a:lvl1pPr marL="0" indent="0" algn="l">
              <a:buNone/>
              <a:defRPr sz="1400" b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Add sub-title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 bwMode="gray">
          <a:xfrm>
            <a:off x="695326" y="4760652"/>
            <a:ext cx="11340000" cy="288032"/>
          </a:xfrm>
        </p:spPr>
        <p:txBody>
          <a:bodyPr anchor="t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Add title</a:t>
            </a:r>
            <a:endParaRPr lang="en-GB" noProof="0" dirty="0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5"/>
          </p:nvPr>
        </p:nvSpPr>
        <p:spPr bwMode="gray">
          <a:xfrm>
            <a:off x="0" y="0"/>
            <a:ext cx="12192000" cy="3429000"/>
          </a:xfrm>
          <a:noFill/>
        </p:spPr>
        <p:txBody>
          <a:bodyPr bIns="900000" anchor="ctr" anchorCtr="0"/>
          <a:lstStyle>
            <a:lvl1pPr algn="ctr">
              <a:lnSpc>
                <a:spcPct val="100000"/>
              </a:lnSpc>
              <a:spcBef>
                <a:spcPts val="0"/>
              </a:spcBef>
              <a:defRPr/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pic>
        <p:nvPicPr>
          <p:cNvPr id="6" name="Bild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3753532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8"/>
          <p:cNvSpPr txBox="1"/>
          <p:nvPr userDrawn="1"/>
        </p:nvSpPr>
        <p:spPr>
          <a:xfrm>
            <a:off x="684212" y="6536323"/>
            <a:ext cx="12192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de-DE" sz="1000" dirty="0"/>
              <a:t> KSU: 0.2</a:t>
            </a:r>
            <a:endParaRPr kumimoji="0" lang="en-US" sz="1000" b="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: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326" y="3897313"/>
            <a:ext cx="11340000" cy="251767"/>
          </a:xfrm>
        </p:spPr>
        <p:txBody>
          <a:bodyPr anchor="t"/>
          <a:lstStyle>
            <a:lvl1pPr marL="0" indent="0" algn="l">
              <a:buNone/>
              <a:defRPr sz="1400" b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Add sub-title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 bwMode="gray">
          <a:xfrm>
            <a:off x="695326" y="3573016"/>
            <a:ext cx="11340000" cy="288032"/>
          </a:xfrm>
        </p:spPr>
        <p:txBody>
          <a:bodyPr anchor="t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Add title</a:t>
            </a:r>
            <a:endParaRPr lang="en-GB" noProof="0" dirty="0"/>
          </a:p>
        </p:txBody>
      </p:sp>
      <p:pic>
        <p:nvPicPr>
          <p:cNvPr id="9" name="Bild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2565400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9"/>
          <p:cNvSpPr txBox="1"/>
          <p:nvPr userDrawn="1"/>
        </p:nvSpPr>
        <p:spPr>
          <a:xfrm>
            <a:off x="684212" y="6536323"/>
            <a:ext cx="1219200" cy="1572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de-DE" sz="1000" dirty="0">
                <a:solidFill>
                  <a:schemeClr val="bg1"/>
                </a:solidFill>
              </a:rPr>
              <a:t> KSU: 0.2</a:t>
            </a:r>
            <a:endParaRPr kumimoji="0" lang="en-US" sz="1000" b="0" i="0" u="none" strike="noStrike" kern="0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: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326" y="3897313"/>
            <a:ext cx="11340000" cy="251767"/>
          </a:xfrm>
        </p:spPr>
        <p:txBody>
          <a:bodyPr anchor="t"/>
          <a:lstStyle>
            <a:lvl1pPr marL="0" indent="0" algn="l">
              <a:buNone/>
              <a:defRPr sz="1400" b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Add sub-title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 bwMode="gray">
          <a:xfrm>
            <a:off x="695326" y="3573016"/>
            <a:ext cx="11340000" cy="288032"/>
          </a:xfrm>
        </p:spPr>
        <p:txBody>
          <a:bodyPr anchor="t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Add title</a:t>
            </a:r>
            <a:endParaRPr lang="en-GB" noProof="0" dirty="0"/>
          </a:p>
        </p:txBody>
      </p:sp>
      <p:pic>
        <p:nvPicPr>
          <p:cNvPr id="9" name="Bild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2565400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95400" y="134143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>
                <a:latin typeface="+mn-lt"/>
              </a:defRPr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4" name="Textplatzhalter 12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511824" y="134143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5" name="Textplatzhalter 1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328248" y="134143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177800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6" name="Textplatzhalter 1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95400" y="407828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7" name="Textplatzhalter 1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511824" y="407828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177800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8" name="Textplatzhalter 12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8328248" y="407828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2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0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  <a:t>‹#›</a:t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9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95325" y="1341438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>
                <a:latin typeface="+mn-lt"/>
              </a:defRPr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4" name="Textplatzhalter 12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511992" y="1341438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5" name="Textplatzhalter 1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328660" y="1341438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6" name="Textplatzhalter 1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95325" y="3164919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7" name="Textplatzhalter 1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511992" y="3164919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177800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8" name="Textplatzhalter 12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8328660" y="3164919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/>
              <a:t>Our Topics</a:t>
            </a:r>
            <a:endParaRPr lang="en-GB" noProof="0" dirty="0"/>
          </a:p>
        </p:txBody>
      </p:sp>
      <p:sp>
        <p:nvSpPr>
          <p:cNvPr id="11" name="Textplatzhalter 12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95325" y="4988400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>
                <a:latin typeface="+mn-lt"/>
              </a:defRPr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2" name="Textplatzhalter 12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511992" y="4988400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9" name="Textplatzhalter 12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8328660" y="4988400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20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21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  <a:t>‹#›</a:t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</a:p>
        </p:txBody>
      </p:sp>
      <p:sp>
        <p:nvSpPr>
          <p:cNvPr id="5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  <a:t>‹#›</a:t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Bullet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 bwMode="gray">
          <a:xfrm>
            <a:off x="695324" y="1341438"/>
            <a:ext cx="11340000" cy="5364162"/>
          </a:xfrm>
        </p:spPr>
        <p:txBody>
          <a:bodyPr/>
          <a:lstStyle>
            <a:lvl1pPr marL="215900" indent="-215900">
              <a:buClr>
                <a:schemeClr val="accent6"/>
              </a:buClr>
              <a:buSzPct val="150000"/>
              <a:buFont typeface="Audi Type" pitchFamily="34" charset="0"/>
              <a:buChar char="›"/>
              <a:defRPr b="0" baseline="0"/>
            </a:lvl1pPr>
            <a:lvl2pPr marL="215900" indent="-215900">
              <a:buClr>
                <a:schemeClr val="accent6"/>
              </a:buClr>
              <a:buSzPct val="150000"/>
              <a:buFont typeface="Audi Type" pitchFamily="34" charset="0"/>
              <a:buChar char="›"/>
              <a:defRPr b="0"/>
            </a:lvl2pPr>
            <a:lvl3pPr marL="215900" indent="-215900">
              <a:buClr>
                <a:schemeClr val="accent6"/>
              </a:buClr>
              <a:buSzPct val="150000"/>
              <a:buFont typeface="Audi Type" pitchFamily="34" charset="0"/>
              <a:buChar char="›"/>
              <a:defRPr b="0"/>
            </a:lvl3pPr>
            <a:lvl4pPr marL="215900" indent="-215900">
              <a:buClr>
                <a:schemeClr val="accent6"/>
              </a:buClr>
              <a:buSzPct val="150000"/>
              <a:buFont typeface="Audi Type" pitchFamily="34" charset="0"/>
              <a:buChar char="›"/>
              <a:defRPr b="0"/>
            </a:lvl4pPr>
            <a:lvl5pPr marL="215900" indent="-215900">
              <a:buClr>
                <a:schemeClr val="accent6"/>
              </a:buClr>
              <a:buSzPct val="150000"/>
              <a:buFont typeface="Audi Type" pitchFamily="34" charset="0"/>
              <a:buChar char="›"/>
              <a:defRPr b="0"/>
            </a:lvl5pPr>
          </a:lstStyle>
          <a:p>
            <a:pPr lvl="0"/>
            <a:r>
              <a:rPr lang="de-DE" noProof="0"/>
              <a:t>Add text</a:t>
            </a:r>
            <a:endParaRPr lang="en-US" noProof="0"/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</a:p>
        </p:txBody>
      </p:sp>
      <p:sp>
        <p:nvSpPr>
          <p:cNvPr id="9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5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  <a:t>‹#›</a:t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 bwMode="gray">
          <a:xfrm>
            <a:off x="695324" y="1341438"/>
            <a:ext cx="11340000" cy="5364162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</a:p>
          <a:p>
            <a:pPr lvl="1"/>
            <a:r>
              <a:rPr lang="en-US" noProof="0"/>
              <a:t>Second level: First bullet point level</a:t>
            </a:r>
          </a:p>
          <a:p>
            <a:pPr lvl="2"/>
            <a:r>
              <a:rPr lang="en-US" noProof="0"/>
              <a:t>Third level: Second bullet point level</a:t>
            </a:r>
          </a:p>
          <a:p>
            <a:pPr lvl="3"/>
            <a:r>
              <a:rPr lang="en-US" noProof="0"/>
              <a:t>Fourth level: Third bullet point level</a:t>
            </a:r>
          </a:p>
          <a:p>
            <a:pPr lvl="4"/>
            <a:r>
              <a:rPr lang="en-US" noProof="0"/>
              <a:t>Fifth level: Fourth bullet point level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</a:p>
        </p:txBody>
      </p:sp>
      <p:sp>
        <p:nvSpPr>
          <p:cNvPr id="10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5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  <a:t>‹#›</a:t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695325" y="368299"/>
            <a:ext cx="11341099" cy="61242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/>
              <a:t>Add title</a:t>
            </a:r>
            <a:endParaRPr lang="en-GB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695325" y="1341438"/>
            <a:ext cx="11341100" cy="53641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First level: Sub-headline</a:t>
            </a:r>
          </a:p>
          <a:p>
            <a:pPr lvl="1"/>
            <a:r>
              <a:rPr lang="en-US" noProof="0" dirty="0"/>
              <a:t>Second level: First bullet point level</a:t>
            </a:r>
          </a:p>
          <a:p>
            <a:pPr lvl="2"/>
            <a:r>
              <a:rPr lang="en-US" noProof="0" dirty="0"/>
              <a:t>Third level: Second bullet point level</a:t>
            </a:r>
          </a:p>
          <a:p>
            <a:pPr lvl="3"/>
            <a:r>
              <a:rPr lang="en-US" noProof="0" dirty="0"/>
              <a:t>Fourth level: Third bullet point level</a:t>
            </a:r>
          </a:p>
          <a:p>
            <a:pPr lvl="4"/>
            <a:r>
              <a:rPr lang="en-US" noProof="0" dirty="0"/>
              <a:t>Fifth level: Fourth bullet point level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 bwMode="gray">
          <a:xfrm>
            <a:off x="1043999" y="116081"/>
            <a:ext cx="10980000" cy="158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lang="de-DE" sz="700" dirty="0">
                <a:latin typeface="Audi Type Extended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</p:sldLayoutIdLst>
  <p:hf hdr="0" ftr="0" dt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1800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buSzPct val="100000"/>
        <a:buFont typeface="Arial" panose="020B0604020202020204" pitchFamily="34" charset="0"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215900" indent="-215900" algn="l" defTabSz="914400" rtl="0" eaLnBrk="1" latinLnBrk="0" hangingPunct="1">
        <a:lnSpc>
          <a:spcPct val="110000"/>
        </a:lnSpc>
        <a:spcBef>
          <a:spcPts val="600"/>
        </a:spcBef>
        <a:buClr>
          <a:srgbClr val="CC0033"/>
        </a:buClr>
        <a:buSzPct val="150000"/>
        <a:buFont typeface="Audi Type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31800" indent="-215900" algn="l" defTabSz="914400" rtl="0" eaLnBrk="1" latinLnBrk="0" hangingPunct="1">
        <a:lnSpc>
          <a:spcPct val="110000"/>
        </a:lnSpc>
        <a:spcBef>
          <a:spcPts val="600"/>
        </a:spcBef>
        <a:buClr>
          <a:schemeClr val="tx2"/>
        </a:buClr>
        <a:buSzPct val="150000"/>
        <a:buFont typeface="Audi Type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47700" indent="-215900" algn="l" defTabSz="914400" rtl="0" eaLnBrk="1" latinLnBrk="0" hangingPunct="1">
        <a:lnSpc>
          <a:spcPct val="110000"/>
        </a:lnSpc>
        <a:spcBef>
          <a:spcPts val="600"/>
        </a:spcBef>
        <a:buClr>
          <a:schemeClr val="accent3"/>
        </a:buClr>
        <a:buSzPct val="150000"/>
        <a:buFont typeface="Audi Type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64235" indent="-215900" algn="l" defTabSz="914400" rtl="0" eaLnBrk="1" latinLnBrk="0" hangingPunct="1">
        <a:lnSpc>
          <a:spcPct val="110000"/>
        </a:lnSpc>
        <a:spcBef>
          <a:spcPts val="600"/>
        </a:spcBef>
        <a:buClr>
          <a:schemeClr val="tx2"/>
        </a:buClr>
        <a:buSzPct val="100000"/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1.xml"/><Relationship Id="rId3" Type="http://schemas.openxmlformats.org/officeDocument/2006/relationships/tags" Target="../tags/tag21.xml"/><Relationship Id="rId7" Type="http://schemas.openxmlformats.org/officeDocument/2006/relationships/chart" Target="../charts/chart10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chart" Target="../charts/chart12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chart" Target="../charts/chart13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chart" Target="../charts/chart14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6.xml"/><Relationship Id="rId3" Type="http://schemas.openxmlformats.org/officeDocument/2006/relationships/tags" Target="../tags/tag29.xml"/><Relationship Id="rId7" Type="http://schemas.openxmlformats.org/officeDocument/2006/relationships/chart" Target="../charts/chart15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chart" Target="../charts/chart17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9.xml"/><Relationship Id="rId3" Type="http://schemas.openxmlformats.org/officeDocument/2006/relationships/tags" Target="../tags/tag33.xml"/><Relationship Id="rId7" Type="http://schemas.openxmlformats.org/officeDocument/2006/relationships/chart" Target="../charts/chart18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6.bin"/><Relationship Id="rId4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chart" Target="../charts/chart20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2.xml"/><Relationship Id="rId3" Type="http://schemas.openxmlformats.org/officeDocument/2006/relationships/tags" Target="../tags/tag37.xml"/><Relationship Id="rId7" Type="http://schemas.openxmlformats.org/officeDocument/2006/relationships/chart" Target="../charts/chart21.xml"/><Relationship Id="rId2" Type="http://schemas.openxmlformats.org/officeDocument/2006/relationships/tags" Target="../tags/tag36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7" Type="http://schemas.openxmlformats.org/officeDocument/2006/relationships/chart" Target="../charts/chart23.xml"/><Relationship Id="rId2" Type="http://schemas.openxmlformats.org/officeDocument/2006/relationships/tags" Target="../tags/tag38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9.bin"/><Relationship Id="rId4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8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5.xml"/><Relationship Id="rId3" Type="http://schemas.openxmlformats.org/officeDocument/2006/relationships/tags" Target="../tags/tag41.xml"/><Relationship Id="rId7" Type="http://schemas.openxmlformats.org/officeDocument/2006/relationships/chart" Target="../charts/chart24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0.bin"/><Relationship Id="rId4" Type="http://schemas.openxmlformats.org/officeDocument/2006/relationships/slideLayout" Target="../slideLayouts/slideLayout8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7" Type="http://schemas.openxmlformats.org/officeDocument/2006/relationships/chart" Target="../charts/chart26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1.bin"/><Relationship Id="rId4" Type="http://schemas.openxmlformats.org/officeDocument/2006/relationships/slideLayout" Target="../slideLayouts/slideLayout8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8.xml"/><Relationship Id="rId3" Type="http://schemas.openxmlformats.org/officeDocument/2006/relationships/tags" Target="../tags/tag45.xml"/><Relationship Id="rId7" Type="http://schemas.openxmlformats.org/officeDocument/2006/relationships/chart" Target="../charts/chart27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8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0.xml"/><Relationship Id="rId3" Type="http://schemas.openxmlformats.org/officeDocument/2006/relationships/tags" Target="../tags/tag47.xml"/><Relationship Id="rId7" Type="http://schemas.openxmlformats.org/officeDocument/2006/relationships/chart" Target="../charts/chart29.xml"/><Relationship Id="rId2" Type="http://schemas.openxmlformats.org/officeDocument/2006/relationships/tags" Target="../tags/tag46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8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4.bin"/><Relationship Id="rId4" Type="http://schemas.openxmlformats.org/officeDocument/2006/relationships/slideLayout" Target="../slideLayouts/slideLayout8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7" Type="http://schemas.openxmlformats.org/officeDocument/2006/relationships/chart" Target="../charts/chart31.xml"/><Relationship Id="rId2" Type="http://schemas.openxmlformats.org/officeDocument/2006/relationships/tags" Target="../tags/tag50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5.bin"/><Relationship Id="rId4" Type="http://schemas.openxmlformats.org/officeDocument/2006/relationships/slideLayout" Target="../slideLayouts/slideLayout8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3.xml"/><Relationship Id="rId3" Type="http://schemas.openxmlformats.org/officeDocument/2006/relationships/tags" Target="../tags/tag53.xml"/><Relationship Id="rId7" Type="http://schemas.openxmlformats.org/officeDocument/2006/relationships/chart" Target="../charts/chart32.xml"/><Relationship Id="rId2" Type="http://schemas.openxmlformats.org/officeDocument/2006/relationships/tags" Target="../tags/tag52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6.bin"/><Relationship Id="rId4" Type="http://schemas.openxmlformats.org/officeDocument/2006/relationships/slideLayout" Target="../slideLayouts/slideLayout8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chart" Target="../charts/chart34.xml"/><Relationship Id="rId2" Type="http://schemas.openxmlformats.org/officeDocument/2006/relationships/tags" Target="../tags/tag54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7.bin"/><Relationship Id="rId4" Type="http://schemas.openxmlformats.org/officeDocument/2006/relationships/slideLayout" Target="../slideLayouts/slideLayout8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8.bin"/><Relationship Id="rId4" Type="http://schemas.openxmlformats.org/officeDocument/2006/relationships/slideLayout" Target="../slideLayouts/slideLayout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7" Type="http://schemas.openxmlformats.org/officeDocument/2006/relationships/chart" Target="../charts/chart35.xml"/><Relationship Id="rId2" Type="http://schemas.openxmlformats.org/officeDocument/2006/relationships/tags" Target="../tags/tag58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9.bin"/><Relationship Id="rId4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8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6.xml"/><Relationship Id="rId3" Type="http://schemas.openxmlformats.org/officeDocument/2006/relationships/tags" Target="../tags/tag61.xml"/><Relationship Id="rId7" Type="http://schemas.openxmlformats.org/officeDocument/2006/relationships/image" Target="../media/image7.emf"/><Relationship Id="rId2" Type="http://schemas.openxmlformats.org/officeDocument/2006/relationships/tags" Target="../tags/tag60.xml"/><Relationship Id="rId1" Type="http://schemas.openxmlformats.org/officeDocument/2006/relationships/vmlDrawing" Target="../drawings/vmlDrawing30.vml"/><Relationship Id="rId6" Type="http://schemas.openxmlformats.org/officeDocument/2006/relationships/oleObject" Target="../embeddings/oleObject30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8.xml"/><Relationship Id="rId9" Type="http://schemas.openxmlformats.org/officeDocument/2006/relationships/chart" Target="../charts/chart37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7" Type="http://schemas.openxmlformats.org/officeDocument/2006/relationships/chart" Target="../charts/chart38.xml"/><Relationship Id="rId2" Type="http://schemas.openxmlformats.org/officeDocument/2006/relationships/tags" Target="../tags/tag62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1.bin"/><Relationship Id="rId4" Type="http://schemas.openxmlformats.org/officeDocument/2006/relationships/slideLayout" Target="../slideLayouts/slideLayout8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2" Type="http://schemas.openxmlformats.org/officeDocument/2006/relationships/tags" Target="../tags/tag64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2.bin"/><Relationship Id="rId4" Type="http://schemas.openxmlformats.org/officeDocument/2006/relationships/slideLayout" Target="../slideLayouts/slideLayout8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2" Type="http://schemas.openxmlformats.org/officeDocument/2006/relationships/tags" Target="../tags/tag66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3.bin"/><Relationship Id="rId4" Type="http://schemas.openxmlformats.org/officeDocument/2006/relationships/slideLayout" Target="../slideLayouts/slideLayout8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2" Type="http://schemas.openxmlformats.org/officeDocument/2006/relationships/tags" Target="../tags/tag68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4.bin"/><Relationship Id="rId4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tags" Target="../tags/tag9.xml"/><Relationship Id="rId7" Type="http://schemas.openxmlformats.org/officeDocument/2006/relationships/chart" Target="../charts/chart1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chart" Target="../charts/chart3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5.xml"/><Relationship Id="rId3" Type="http://schemas.openxmlformats.org/officeDocument/2006/relationships/tags" Target="../tags/tag13.xml"/><Relationship Id="rId7" Type="http://schemas.openxmlformats.org/officeDocument/2006/relationships/chart" Target="../charts/chart4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chart" Target="../charts/chart6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8.xml"/><Relationship Id="rId3" Type="http://schemas.openxmlformats.org/officeDocument/2006/relationships/tags" Target="../tags/tag17.xml"/><Relationship Id="rId7" Type="http://schemas.openxmlformats.org/officeDocument/2006/relationships/chart" Target="../charts/chart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chart" Target="../charts/chart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9430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5" name="think-cell Slide" r:id="rId5" imgW="9525" imgH="9525" progId="TCLayout.ActiveDocument.1">
                  <p:embed/>
                </p:oleObj>
              </mc:Choice>
              <mc:Fallback>
                <p:oleObj name="think-cell Slide" r:id="rId5" imgW="9525" imgH="9525" progId="TCLayout.ActiveDocument.1">
                  <p:embed/>
                  <p:pic>
                    <p:nvPicPr>
                      <p:cNvPr id="0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panose="020B0505040200000003" pitchFamily="34" charset="0"/>
              <a:ea typeface="+mj-ea"/>
              <a:cs typeface="+mj-cs"/>
              <a:sym typeface="Audi Type Extended" panose="020B0505040200000003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</a:t>
            </a:r>
            <a:r>
              <a:rPr lang="en-US" altLang="zh-CN" dirty="0"/>
              <a:t>Weekly</a:t>
            </a:r>
            <a:r>
              <a:rPr lang="en-US" dirty="0"/>
              <a:t> Report of Go e-</a:t>
            </a:r>
            <a:r>
              <a:rPr lang="en-US" dirty="0" err="1"/>
              <a:t>tron</a:t>
            </a:r>
            <a:r>
              <a:rPr lang="en-US" dirty="0"/>
              <a:t> App (CW</a:t>
            </a:r>
            <a:r>
              <a:rPr lang="en-US" altLang="zh-CN" dirty="0"/>
              <a:t>02</a:t>
            </a:r>
            <a:r>
              <a:rPr lang="en-US" dirty="0"/>
              <a:t>, 20</a:t>
            </a:r>
            <a:r>
              <a:rPr lang="en-US" altLang="zh-CN" dirty="0"/>
              <a:t>20</a:t>
            </a:r>
            <a:r>
              <a:rPr lang="en-US" dirty="0"/>
              <a:t>)</a:t>
            </a:r>
            <a:r>
              <a:rPr lang="en-GB" dirty="0"/>
              <a:t> </a:t>
            </a:r>
            <a:br>
              <a:rPr lang="en-GB" dirty="0"/>
            </a:br>
            <a:br>
              <a:rPr lang="en-GB" dirty="0"/>
            </a:br>
            <a:r>
              <a:rPr lang="en-US" altLang="zh-CN" dirty="0"/>
              <a:t>Jan 13</a:t>
            </a:r>
            <a:r>
              <a:rPr lang="en-GB" dirty="0"/>
              <a:t>,2020</a:t>
            </a:r>
            <a:br>
              <a:rPr lang="en-GB" dirty="0"/>
            </a:br>
            <a:endParaRPr lang="en-US" dirty="0"/>
          </a:p>
        </p:txBody>
      </p:sp>
    </p:spTree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189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active users &amp; average daily active users </a:t>
            </a:r>
            <a:endParaRPr lang="en-US" dirty="0"/>
          </a:p>
        </p:txBody>
      </p:sp>
      <p:graphicFrame>
        <p:nvGraphicFramePr>
          <p:cNvPr id="8" name="Chart 7"/>
          <p:cNvGraphicFramePr/>
          <p:nvPr>
            <p:extLst>
              <p:ext uri="{D42A27DB-BD31-4B8C-83A1-F6EECF244321}">
                <p14:modId xmlns:p14="http://schemas.microsoft.com/office/powerpoint/2010/main" val="2157825252"/>
              </p:ext>
            </p:extLst>
          </p:nvPr>
        </p:nvGraphicFramePr>
        <p:xfrm>
          <a:off x="68580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695325" y="996543"/>
            <a:ext cx="11198578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active users </a:t>
            </a:r>
            <a:r>
              <a:rPr lang="en-US" altLang="zh-CN" sz="1400" kern="0" dirty="0"/>
              <a:t>: the average active users equals to total active users from go live till end of this week/number of weeks; </a:t>
            </a:r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e.g. the average weekly active users of  CW21=Sum(CW15:CW21)/7</a:t>
            </a:r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active users </a:t>
            </a:r>
            <a:r>
              <a:rPr lang="en-US" altLang="zh-CN" sz="1400" kern="0" dirty="0"/>
              <a:t>: e.g. the average daily </a:t>
            </a:r>
            <a:r>
              <a:rPr lang="en-US" altLang="zh-CN" sz="1400" dirty="0"/>
              <a:t>active users</a:t>
            </a:r>
            <a:r>
              <a:rPr lang="en-US" altLang="zh-CN" sz="1400" kern="0" dirty="0"/>
              <a:t> of  CW21= total</a:t>
            </a:r>
            <a:r>
              <a:rPr lang="en-US" altLang="zh-CN" sz="1400" dirty="0"/>
              <a:t> active users </a:t>
            </a:r>
            <a:r>
              <a:rPr lang="en-US" altLang="zh-CN" sz="1400" kern="0" dirty="0"/>
              <a:t>of CW21/7</a:t>
            </a:r>
          </a:p>
        </p:txBody>
      </p:sp>
      <p:graphicFrame>
        <p:nvGraphicFramePr>
          <p:cNvPr id="10" name="Chart 7"/>
          <p:cNvGraphicFramePr/>
          <p:nvPr>
            <p:extLst>
              <p:ext uri="{D42A27DB-BD31-4B8C-83A1-F6EECF244321}">
                <p14:modId xmlns:p14="http://schemas.microsoft.com/office/powerpoint/2010/main" val="2606380866"/>
              </p:ext>
            </p:extLst>
          </p:nvPr>
        </p:nvGraphicFramePr>
        <p:xfrm>
          <a:off x="624840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369839" y="2149415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0932439" y="2149415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204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 actives users since go live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5302734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Monthly active users: the number of users who used the app per month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>
            <p:extLst>
              <p:ext uri="{D42A27DB-BD31-4B8C-83A1-F6EECF244321}">
                <p14:modId xmlns:p14="http://schemas.microsoft.com/office/powerpoint/2010/main" val="1745824044"/>
              </p:ext>
            </p:extLst>
          </p:nvPr>
        </p:nvGraphicFramePr>
        <p:xfrm>
          <a:off x="697634" y="1295401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01200" y="1302590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247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ily j</a:t>
            </a:r>
            <a:r>
              <a:rPr lang="en-US" altLang="zh-CN" dirty="0"/>
              <a:t>ourneys</a:t>
            </a:r>
            <a:r>
              <a:rPr lang="en-US" dirty="0"/>
              <a:t> </a:t>
            </a:r>
            <a:r>
              <a:rPr lang="en-US" altLang="zh-CN" dirty="0"/>
              <a:t>CW02 vs. CW01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06870" y="1015336"/>
            <a:ext cx="5387693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D</a:t>
            </a:r>
            <a:r>
              <a:rPr kumimoji="0" lang="en-US" altLang="zh-CN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aily journeys</a:t>
            </a:r>
            <a:r>
              <a:rPr lang="en-US" altLang="zh-CN" sz="1400" kern="0" dirty="0"/>
              <a:t>: the number of total journeys recorded by the app per day.</a:t>
            </a:r>
            <a:endParaRPr kumimoji="0" lang="en-US" sz="14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10" name="图表 9">
            <a:extLst>
              <a:ext uri="{FF2B5EF4-FFF2-40B4-BE49-F238E27FC236}">
                <a16:creationId xmlns:a16="http://schemas.microsoft.com/office/drawing/2014/main" id="{ECDD48C2-D558-4E30-B0BB-77EB483179D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77448193"/>
              </p:ext>
            </p:extLst>
          </p:nvPr>
        </p:nvGraphicFramePr>
        <p:xfrm>
          <a:off x="6248400" y="1981200"/>
          <a:ext cx="52959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1" name="TextBox 8">
            <a:extLst>
              <a:ext uri="{FF2B5EF4-FFF2-40B4-BE49-F238E27FC236}">
                <a16:creationId xmlns:a16="http://schemas.microsoft.com/office/drawing/2014/main" id="{B45B0A21-0548-4C78-894A-B522F0F0DA71}"/>
              </a:ext>
            </a:extLst>
          </p:cNvPr>
          <p:cNvSpPr txBox="1"/>
          <p:nvPr/>
        </p:nvSpPr>
        <p:spPr>
          <a:xfrm>
            <a:off x="10582458" y="2031732"/>
            <a:ext cx="741954" cy="1769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4" name="TextBox 1">
            <a:extLst>
              <a:ext uri="{FF2B5EF4-FFF2-40B4-BE49-F238E27FC236}">
                <a16:creationId xmlns:a16="http://schemas.microsoft.com/office/drawing/2014/main" id="{60091D32-0963-4B38-91BA-7DAE5C593D20}"/>
              </a:ext>
            </a:extLst>
          </p:cNvPr>
          <p:cNvSpPr txBox="1"/>
          <p:nvPr/>
        </p:nvSpPr>
        <p:spPr>
          <a:xfrm>
            <a:off x="1828800" y="3122537"/>
            <a:ext cx="2492670" cy="61292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*The data for CW</a:t>
            </a:r>
            <a:r>
              <a:rPr lang="en-US" altLang="zh-CN" sz="1400" kern="0" baseline="0" dirty="0"/>
              <a:t>02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is 0, </a:t>
            </a:r>
          </a:p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so there is no chart can be show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285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</a:t>
            </a:r>
            <a:r>
              <a:rPr lang="en-US" dirty="0"/>
              <a:t> j</a:t>
            </a:r>
            <a:r>
              <a:rPr lang="en-US" altLang="zh-CN" dirty="0"/>
              <a:t>ourneys</a:t>
            </a:r>
            <a:r>
              <a:rPr lang="en-US" dirty="0"/>
              <a:t> </a:t>
            </a:r>
            <a:r>
              <a:rPr lang="en-US" altLang="zh-CN" dirty="0"/>
              <a:t>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5708679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Weekly j</a:t>
            </a:r>
            <a:r>
              <a:rPr lang="en-US" altLang="zh-CN" sz="1400" dirty="0"/>
              <a:t>ourneys</a:t>
            </a:r>
            <a:r>
              <a:rPr lang="en-US" altLang="zh-CN" sz="1400" kern="0" dirty="0"/>
              <a:t>: the number of total journeys recorded by the app per week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>
            <p:extLst>
              <p:ext uri="{D42A27DB-BD31-4B8C-83A1-F6EECF244321}">
                <p14:modId xmlns:p14="http://schemas.microsoft.com/office/powerpoint/2010/main" val="4239638162"/>
              </p:ext>
            </p:extLst>
          </p:nvPr>
        </p:nvGraphicFramePr>
        <p:xfrm>
          <a:off x="697634" y="1295401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84385" y="1295401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259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journeys &amp; average daily journeys</a:t>
            </a:r>
            <a:endParaRPr lang="en-US" dirty="0"/>
          </a:p>
        </p:txBody>
      </p:sp>
      <p:graphicFrame>
        <p:nvGraphicFramePr>
          <p:cNvPr id="8" name="Chart 7"/>
          <p:cNvGraphicFramePr/>
          <p:nvPr>
            <p:extLst>
              <p:ext uri="{D42A27DB-BD31-4B8C-83A1-F6EECF244321}">
                <p14:modId xmlns:p14="http://schemas.microsoft.com/office/powerpoint/2010/main" val="2139610325"/>
              </p:ext>
            </p:extLst>
          </p:nvPr>
        </p:nvGraphicFramePr>
        <p:xfrm>
          <a:off x="68580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609600" y="1015336"/>
            <a:ext cx="10908435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journeys </a:t>
            </a:r>
            <a:r>
              <a:rPr lang="en-US" altLang="zh-CN" sz="1400" kern="0" dirty="0"/>
              <a:t>: the average weekly journeys equals to total journeys from go live till end of this week/number of weeks; </a:t>
            </a:r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e.g. the average weekly journeys of  CW21=Sum(CW15:CW21)/7</a:t>
            </a:r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journeys </a:t>
            </a:r>
            <a:r>
              <a:rPr lang="en-US" altLang="zh-CN" sz="1400" kern="0" dirty="0"/>
              <a:t>: e.g. the average daily </a:t>
            </a:r>
            <a:r>
              <a:rPr lang="en-US" altLang="zh-CN" sz="1400" dirty="0"/>
              <a:t>journeys</a:t>
            </a:r>
            <a:r>
              <a:rPr lang="en-US" altLang="zh-CN" sz="1400" kern="0" dirty="0"/>
              <a:t> of  CW21= total</a:t>
            </a:r>
            <a:r>
              <a:rPr lang="en-US" altLang="zh-CN" sz="1400" dirty="0"/>
              <a:t> journeys </a:t>
            </a:r>
            <a:r>
              <a:rPr lang="en-US" altLang="zh-CN" sz="1400" kern="0" dirty="0"/>
              <a:t>of CW21/7</a:t>
            </a:r>
          </a:p>
        </p:txBody>
      </p:sp>
      <p:graphicFrame>
        <p:nvGraphicFramePr>
          <p:cNvPr id="10" name="Chart 7"/>
          <p:cNvGraphicFramePr/>
          <p:nvPr>
            <p:extLst>
              <p:ext uri="{D42A27DB-BD31-4B8C-83A1-F6EECF244321}">
                <p14:modId xmlns:p14="http://schemas.microsoft.com/office/powerpoint/2010/main" val="2239884656"/>
              </p:ext>
            </p:extLst>
          </p:nvPr>
        </p:nvGraphicFramePr>
        <p:xfrm>
          <a:off x="640080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257800" y="21336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0972800" y="2158042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300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</a:t>
            </a:r>
            <a:r>
              <a:rPr lang="en-US" dirty="0"/>
              <a:t> j</a:t>
            </a:r>
            <a:r>
              <a:rPr lang="en-US" altLang="zh-CN" dirty="0"/>
              <a:t>ourneys</a:t>
            </a:r>
            <a:r>
              <a:rPr lang="en-US" dirty="0"/>
              <a:t> </a:t>
            </a:r>
            <a:r>
              <a:rPr lang="en-US" altLang="zh-CN" dirty="0"/>
              <a:t>since go live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6745436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Monthly j</a:t>
            </a:r>
            <a:r>
              <a:rPr lang="en-US" altLang="zh-CN" sz="1400" dirty="0"/>
              <a:t>ourneys </a:t>
            </a:r>
            <a:r>
              <a:rPr lang="en-US" altLang="zh-CN" sz="1400" kern="0" dirty="0"/>
              <a:t>: the number of total journeys recorded by the app per month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>
            <p:extLst>
              <p:ext uri="{D42A27DB-BD31-4B8C-83A1-F6EECF244321}">
                <p14:modId xmlns:p14="http://schemas.microsoft.com/office/powerpoint/2010/main" val="566704533"/>
              </p:ext>
            </p:extLst>
          </p:nvPr>
        </p:nvGraphicFramePr>
        <p:xfrm>
          <a:off x="697634" y="1295401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84385" y="1295401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337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95325" y="368299"/>
            <a:ext cx="11341099" cy="612429"/>
          </a:xfrm>
        </p:spPr>
        <p:txBody>
          <a:bodyPr/>
          <a:lstStyle/>
          <a:p>
            <a:r>
              <a:rPr lang="en-US" dirty="0"/>
              <a:t>Daily r</a:t>
            </a:r>
            <a:r>
              <a:rPr lang="en-US" altLang="zh-CN" dirty="0"/>
              <a:t>unning time</a:t>
            </a:r>
            <a:r>
              <a:rPr lang="en-US" dirty="0"/>
              <a:t> </a:t>
            </a:r>
            <a:r>
              <a:rPr lang="en-US" altLang="zh-CN" dirty="0"/>
              <a:t>CW02 vs. CW01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06870" y="1015336"/>
            <a:ext cx="9185207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D</a:t>
            </a:r>
            <a:r>
              <a:rPr kumimoji="0" lang="en-US" altLang="zh-CN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aily r</a:t>
            </a:r>
            <a:r>
              <a:rPr lang="en-US" altLang="zh-CN" sz="1400" dirty="0" err="1"/>
              <a:t>unning</a:t>
            </a:r>
            <a:r>
              <a:rPr lang="en-US" altLang="zh-CN" sz="1400" dirty="0"/>
              <a:t> time </a:t>
            </a:r>
            <a:r>
              <a:rPr lang="en-US" altLang="zh-CN" sz="1400" kern="0" dirty="0"/>
              <a:t>: the average using time of the app per active user per day(total using time / number of daily active users).</a:t>
            </a:r>
            <a:endParaRPr kumimoji="0" lang="en-US" sz="140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8" name="图表 7"/>
          <p:cNvGraphicFramePr/>
          <p:nvPr>
            <p:extLst>
              <p:ext uri="{D42A27DB-BD31-4B8C-83A1-F6EECF244321}">
                <p14:modId xmlns:p14="http://schemas.microsoft.com/office/powerpoint/2010/main" val="1504221102"/>
              </p:ext>
            </p:extLst>
          </p:nvPr>
        </p:nvGraphicFramePr>
        <p:xfrm>
          <a:off x="685800" y="2127985"/>
          <a:ext cx="5305425" cy="35108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189979" y="2133600"/>
            <a:ext cx="894476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Minut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11" name="图表 10">
            <a:extLst>
              <a:ext uri="{FF2B5EF4-FFF2-40B4-BE49-F238E27FC236}">
                <a16:creationId xmlns:a16="http://schemas.microsoft.com/office/drawing/2014/main" id="{54165721-CE5B-4BA4-9681-AECF99E70AE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1388337"/>
              </p:ext>
            </p:extLst>
          </p:nvPr>
        </p:nvGraphicFramePr>
        <p:xfrm>
          <a:off x="6245303" y="2127985"/>
          <a:ext cx="5305425" cy="35108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2" name="TextBox 8">
            <a:extLst>
              <a:ext uri="{FF2B5EF4-FFF2-40B4-BE49-F238E27FC236}">
                <a16:creationId xmlns:a16="http://schemas.microsoft.com/office/drawing/2014/main" id="{597C1A28-EA9B-4C75-9660-29FB274DE52F}"/>
              </a:ext>
            </a:extLst>
          </p:cNvPr>
          <p:cNvSpPr txBox="1"/>
          <p:nvPr/>
        </p:nvSpPr>
        <p:spPr>
          <a:xfrm>
            <a:off x="10749482" y="2133600"/>
            <a:ext cx="894476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Minut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638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</a:t>
            </a:r>
            <a:r>
              <a:rPr lang="en-US" dirty="0"/>
              <a:t> r</a:t>
            </a:r>
            <a:r>
              <a:rPr lang="en-US" altLang="zh-CN" dirty="0"/>
              <a:t>unning time</a:t>
            </a:r>
            <a:r>
              <a:rPr lang="en-US" dirty="0"/>
              <a:t> </a:t>
            </a:r>
            <a:r>
              <a:rPr lang="en-US" altLang="zh-CN" dirty="0"/>
              <a:t>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9459321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Weekly r</a:t>
            </a:r>
            <a:r>
              <a:rPr lang="en-US" altLang="zh-CN" sz="1400" dirty="0"/>
              <a:t>unning time </a:t>
            </a:r>
            <a:r>
              <a:rPr lang="en-US" altLang="zh-CN" sz="1400" kern="0" dirty="0"/>
              <a:t>: the average using time of the app per active user per week(total using time / number of daily active users)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>
            <p:extLst>
              <p:ext uri="{D42A27DB-BD31-4B8C-83A1-F6EECF244321}">
                <p14:modId xmlns:p14="http://schemas.microsoft.com/office/powerpoint/2010/main" val="3992756018"/>
              </p:ext>
            </p:extLst>
          </p:nvPr>
        </p:nvGraphicFramePr>
        <p:xfrm>
          <a:off x="695325" y="1447800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439098167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355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running time &amp; average daily running time</a:t>
            </a:r>
            <a:endParaRPr lang="en-US" dirty="0"/>
          </a:p>
        </p:txBody>
      </p:sp>
      <p:graphicFrame>
        <p:nvGraphicFramePr>
          <p:cNvPr id="8" name="Chart 7"/>
          <p:cNvGraphicFramePr/>
          <p:nvPr>
            <p:extLst>
              <p:ext uri="{D42A27DB-BD31-4B8C-83A1-F6EECF244321}">
                <p14:modId xmlns:p14="http://schemas.microsoft.com/office/powerpoint/2010/main" val="1636230260"/>
              </p:ext>
            </p:extLst>
          </p:nvPr>
        </p:nvGraphicFramePr>
        <p:xfrm>
          <a:off x="68580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706870" y="1015336"/>
            <a:ext cx="11283538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running time </a:t>
            </a:r>
            <a:r>
              <a:rPr lang="en-US" altLang="zh-CN" sz="1400" kern="0" dirty="0"/>
              <a:t>: the average </a:t>
            </a:r>
            <a:r>
              <a:rPr lang="en-US" altLang="zh-CN" sz="1400" dirty="0"/>
              <a:t>running time </a:t>
            </a:r>
            <a:r>
              <a:rPr lang="en-US" altLang="zh-CN" sz="1400" kern="0" dirty="0"/>
              <a:t>equals to </a:t>
            </a:r>
            <a:r>
              <a:rPr lang="en-US" altLang="zh-CN" sz="1400" dirty="0"/>
              <a:t>running time </a:t>
            </a:r>
            <a:r>
              <a:rPr lang="en-US" altLang="zh-CN" sz="1400" kern="0" dirty="0"/>
              <a:t>from go live till end of this week/number of weeks; </a:t>
            </a:r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e.g. the average </a:t>
            </a:r>
            <a:r>
              <a:rPr lang="en-US" altLang="zh-CN" sz="1400" dirty="0"/>
              <a:t>running time </a:t>
            </a:r>
            <a:r>
              <a:rPr lang="en-US" altLang="zh-CN" sz="1400" kern="0" dirty="0"/>
              <a:t>of  CW21=Sum(CW15:CW21)/7</a:t>
            </a:r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running time </a:t>
            </a:r>
            <a:r>
              <a:rPr lang="en-US" altLang="zh-CN" sz="1400" kern="0" dirty="0"/>
              <a:t>: e.g. the average daily </a:t>
            </a:r>
            <a:r>
              <a:rPr lang="en-US" altLang="zh-CN" sz="1400" dirty="0"/>
              <a:t>running time</a:t>
            </a:r>
            <a:r>
              <a:rPr lang="en-US" altLang="zh-CN" sz="1400" kern="0" dirty="0"/>
              <a:t> of  CW21= total</a:t>
            </a:r>
            <a:r>
              <a:rPr lang="en-US" altLang="zh-CN" sz="1400" dirty="0"/>
              <a:t> running time </a:t>
            </a:r>
            <a:r>
              <a:rPr lang="en-US" altLang="zh-CN" sz="1400" kern="0" dirty="0"/>
              <a:t>of CW21/7</a:t>
            </a:r>
          </a:p>
        </p:txBody>
      </p:sp>
      <p:graphicFrame>
        <p:nvGraphicFramePr>
          <p:cNvPr id="10" name="Chart 7"/>
          <p:cNvGraphicFramePr/>
          <p:nvPr>
            <p:extLst>
              <p:ext uri="{D42A27DB-BD31-4B8C-83A1-F6EECF244321}">
                <p14:modId xmlns:p14="http://schemas.microsoft.com/office/powerpoint/2010/main" val="2664924366"/>
              </p:ext>
            </p:extLst>
          </p:nvPr>
        </p:nvGraphicFramePr>
        <p:xfrm>
          <a:off x="640080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201524" y="2132162"/>
            <a:ext cx="894476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Minut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0916524" y="2140789"/>
            <a:ext cx="894476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Minut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404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</a:t>
            </a:r>
            <a:r>
              <a:rPr lang="en-US" dirty="0"/>
              <a:t> r</a:t>
            </a:r>
            <a:r>
              <a:rPr lang="en-US" altLang="zh-CN" dirty="0"/>
              <a:t>unning time</a:t>
            </a:r>
            <a:r>
              <a:rPr lang="en-US" dirty="0"/>
              <a:t> </a:t>
            </a:r>
            <a:r>
              <a:rPr lang="en-US" altLang="zh-CN" dirty="0"/>
              <a:t>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9634048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Monthly r</a:t>
            </a:r>
            <a:r>
              <a:rPr lang="en-US" altLang="zh-CN" sz="1400" dirty="0"/>
              <a:t>unning time </a:t>
            </a:r>
            <a:r>
              <a:rPr lang="en-US" altLang="zh-CN" sz="1400" kern="0" dirty="0"/>
              <a:t>: the average using time of the app per active user per month(total using time / number of daily active users)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>
            <p:extLst>
              <p:ext uri="{D42A27DB-BD31-4B8C-83A1-F6EECF244321}">
                <p14:modId xmlns:p14="http://schemas.microsoft.com/office/powerpoint/2010/main" val="2569219092"/>
              </p:ext>
            </p:extLst>
          </p:nvPr>
        </p:nvGraphicFramePr>
        <p:xfrm>
          <a:off x="697634" y="1295401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544924" y="1302590"/>
            <a:ext cx="894476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Minut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628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n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695324" y="990600"/>
            <a:ext cx="5400676" cy="5181600"/>
          </a:xfrm>
        </p:spPr>
        <p:txBody>
          <a:bodyPr/>
          <a:lstStyle/>
          <a:p>
            <a:r>
              <a:rPr lang="en-US" altLang="zh-CN" b="1" dirty="0"/>
              <a:t>App Downloads</a:t>
            </a:r>
          </a:p>
          <a:p>
            <a:r>
              <a:rPr lang="en-US" altLang="zh-CN" sz="1000" dirty="0"/>
              <a:t>Daily downloads CW02 vs. CW01 </a:t>
            </a:r>
            <a:r>
              <a:rPr lang="en-US" sz="1000" b="1" dirty="0"/>
              <a:t>– Page 4</a:t>
            </a:r>
          </a:p>
          <a:p>
            <a:r>
              <a:rPr lang="en-US" altLang="zh-CN" sz="1000" dirty="0"/>
              <a:t>Weekly downloads since go live </a:t>
            </a:r>
            <a:r>
              <a:rPr lang="en-US" sz="1000" b="1" dirty="0"/>
              <a:t>– Page 5</a:t>
            </a:r>
          </a:p>
          <a:p>
            <a:r>
              <a:rPr lang="en-US" altLang="zh-CN" sz="1000" dirty="0"/>
              <a:t>Average weekly downloads &amp; average daily downloads</a:t>
            </a:r>
            <a:r>
              <a:rPr lang="en-US" altLang="zh-CN" sz="1000" b="1" dirty="0"/>
              <a:t>–</a:t>
            </a:r>
            <a:r>
              <a:rPr lang="en-US" altLang="zh-CN" sz="1000" dirty="0"/>
              <a:t> </a:t>
            </a:r>
            <a:r>
              <a:rPr lang="en-US" altLang="zh-CN" sz="1000" b="1" dirty="0"/>
              <a:t>Page 6</a:t>
            </a:r>
          </a:p>
          <a:p>
            <a:r>
              <a:rPr lang="en-US" altLang="zh-CN" sz="1000" dirty="0"/>
              <a:t>Monthly downloads since go live </a:t>
            </a:r>
            <a:r>
              <a:rPr lang="en-US" altLang="zh-CN" sz="1000" b="1" dirty="0"/>
              <a:t>– Page 7</a:t>
            </a:r>
          </a:p>
          <a:p>
            <a:r>
              <a:rPr lang="en-US" altLang="zh-CN" b="1" dirty="0"/>
              <a:t>Active Users</a:t>
            </a:r>
          </a:p>
          <a:p>
            <a:r>
              <a:rPr lang="en-US" altLang="zh-CN" sz="1000" dirty="0"/>
              <a:t>Daily active users CW02 vs. CW01 </a:t>
            </a:r>
            <a:r>
              <a:rPr lang="en-US" altLang="zh-CN" sz="1000" b="1" dirty="0"/>
              <a:t>– Page 8</a:t>
            </a:r>
          </a:p>
          <a:p>
            <a:r>
              <a:rPr lang="en-US" altLang="zh-CN" sz="1000" dirty="0"/>
              <a:t>Weekly active users since go live </a:t>
            </a:r>
            <a:r>
              <a:rPr lang="en-US" altLang="zh-CN" sz="1000" b="1" dirty="0"/>
              <a:t>– Page 9</a:t>
            </a:r>
          </a:p>
          <a:p>
            <a:r>
              <a:rPr lang="en-US" altLang="zh-CN" sz="1000" dirty="0"/>
              <a:t>Average weekly active users &amp; average daily active users  </a:t>
            </a:r>
            <a:r>
              <a:rPr lang="en-US" altLang="zh-CN" sz="1000" b="1" dirty="0"/>
              <a:t>– Page 10</a:t>
            </a:r>
          </a:p>
          <a:p>
            <a:r>
              <a:rPr lang="en-US" altLang="zh-CN" sz="1000" dirty="0"/>
              <a:t>Monthly active users since go live </a:t>
            </a:r>
            <a:r>
              <a:rPr lang="en-US" altLang="zh-CN" sz="1000" b="1" dirty="0"/>
              <a:t>– Page 11</a:t>
            </a:r>
          </a:p>
          <a:p>
            <a:r>
              <a:rPr lang="en-US" altLang="zh-CN" b="1" dirty="0"/>
              <a:t>Journeys</a:t>
            </a:r>
          </a:p>
          <a:p>
            <a:r>
              <a:rPr lang="en-US" altLang="zh-CN" sz="1000" dirty="0"/>
              <a:t>Daily journeys CW02 vs. CW01 </a:t>
            </a:r>
            <a:r>
              <a:rPr lang="en-US" altLang="zh-CN" sz="1000" b="1" dirty="0"/>
              <a:t>– Page 12</a:t>
            </a:r>
          </a:p>
          <a:p>
            <a:r>
              <a:rPr lang="en-US" altLang="zh-CN" sz="1000" dirty="0"/>
              <a:t>Weekly journeys since go live </a:t>
            </a:r>
            <a:r>
              <a:rPr lang="en-US" altLang="zh-CN" sz="1000" b="1" dirty="0"/>
              <a:t>– Page 13</a:t>
            </a:r>
          </a:p>
          <a:p>
            <a:r>
              <a:rPr lang="en-US" altLang="zh-CN" sz="1000" dirty="0"/>
              <a:t>Average weekly journeys &amp; average daily journeys</a:t>
            </a:r>
            <a:r>
              <a:rPr lang="en-US" altLang="zh-CN" sz="1000" b="1" dirty="0"/>
              <a:t>– Page 14</a:t>
            </a:r>
          </a:p>
          <a:p>
            <a:r>
              <a:rPr lang="en-US" altLang="zh-CN" sz="1000" dirty="0"/>
              <a:t>Monthly journeys since go live </a:t>
            </a:r>
            <a:r>
              <a:rPr lang="en-US" altLang="zh-CN" sz="1000" b="1" dirty="0"/>
              <a:t>– Page 15</a:t>
            </a:r>
          </a:p>
          <a:p>
            <a:pPr lvl="0"/>
            <a:r>
              <a:rPr lang="en-US" altLang="zh-CN" b="1" dirty="0"/>
              <a:t>Running Time</a:t>
            </a:r>
          </a:p>
          <a:p>
            <a:pPr lvl="0"/>
            <a:r>
              <a:rPr lang="en-US" altLang="zh-CN" sz="1000" dirty="0"/>
              <a:t>Daily running time CW02 vs. CW01 – </a:t>
            </a:r>
            <a:r>
              <a:rPr lang="en-US" altLang="zh-CN" sz="1000" b="1" dirty="0"/>
              <a:t>Page 16</a:t>
            </a:r>
          </a:p>
          <a:p>
            <a:pPr lvl="0"/>
            <a:r>
              <a:rPr lang="en-US" altLang="zh-CN" sz="1000" dirty="0"/>
              <a:t>Weekly running time since go live – </a:t>
            </a:r>
            <a:r>
              <a:rPr lang="en-US" altLang="zh-CN" sz="1000" b="1" dirty="0"/>
              <a:t>Page 17</a:t>
            </a:r>
          </a:p>
          <a:p>
            <a:pPr lvl="0"/>
            <a:r>
              <a:rPr lang="en-US" altLang="zh-CN" sz="1000" dirty="0"/>
              <a:t>Average weekly running time &amp; average daily running time– </a:t>
            </a:r>
            <a:r>
              <a:rPr lang="en-US" altLang="zh-CN" sz="1000" b="1" dirty="0"/>
              <a:t>Page 18</a:t>
            </a:r>
          </a:p>
          <a:p>
            <a:pPr lvl="0"/>
            <a:r>
              <a:rPr lang="en-US" altLang="zh-CN" sz="1000" dirty="0"/>
              <a:t>Monthly running time since go live – </a:t>
            </a:r>
            <a:r>
              <a:rPr lang="en-US" altLang="zh-CN" sz="1000" b="1" dirty="0"/>
              <a:t>Page 19</a:t>
            </a:r>
          </a:p>
          <a:p>
            <a:endParaRPr lang="en-US" altLang="zh-CN" sz="1000" b="1" dirty="0"/>
          </a:p>
          <a:p>
            <a:pPr marL="0" indent="0">
              <a:buNone/>
            </a:pPr>
            <a:endParaRPr lang="en-US" altLang="zh-CN" sz="1200" dirty="0"/>
          </a:p>
          <a:p>
            <a:endParaRPr lang="en-US" sz="800" dirty="0"/>
          </a:p>
        </p:txBody>
      </p:sp>
      <p:sp>
        <p:nvSpPr>
          <p:cNvPr id="7" name="Content Placeholder 5"/>
          <p:cNvSpPr txBox="1"/>
          <p:nvPr/>
        </p:nvSpPr>
        <p:spPr bwMode="gray">
          <a:xfrm>
            <a:off x="6410324" y="990600"/>
            <a:ext cx="5400676" cy="5181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15900" indent="-2159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6"/>
              </a:buClr>
              <a:buSzPct val="150000"/>
              <a:buFont typeface="Audi Type" pitchFamily="34" charset="0"/>
              <a:buChar char="›"/>
              <a:defRPr sz="16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5900" indent="-2159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6"/>
              </a:buClr>
              <a:buSzPct val="150000"/>
              <a:buFont typeface="Audi Type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5900" indent="-2159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6"/>
              </a:buClr>
              <a:buSzPct val="150000"/>
              <a:buFont typeface="Audi Type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5900" indent="-2159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6"/>
              </a:buClr>
              <a:buSzPct val="150000"/>
              <a:buFont typeface="Audi Type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5900" indent="-2159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6"/>
              </a:buClr>
              <a:buSzPct val="150000"/>
              <a:buFont typeface="Audi Type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b="1" dirty="0"/>
              <a:t>User Activities</a:t>
            </a:r>
          </a:p>
          <a:p>
            <a:r>
              <a:rPr lang="en-US" altLang="zh-CN" sz="1000" dirty="0"/>
              <a:t>User activities CW02 vs. CW01 </a:t>
            </a:r>
            <a:r>
              <a:rPr lang="en-US" altLang="zh-CN" sz="1000" b="1" dirty="0"/>
              <a:t>– Page 20</a:t>
            </a:r>
          </a:p>
          <a:p>
            <a:r>
              <a:rPr lang="en-US" altLang="zh-CN" sz="1000" dirty="0"/>
              <a:t>Weekly user activities since go live </a:t>
            </a:r>
            <a:r>
              <a:rPr lang="en-US" altLang="zh-CN" sz="1000" b="1" dirty="0"/>
              <a:t>– Page 21</a:t>
            </a:r>
          </a:p>
          <a:p>
            <a:r>
              <a:rPr lang="en-US" altLang="zh-CN" sz="1000" dirty="0"/>
              <a:t>Average weekly user activities  &amp; average daily user activities </a:t>
            </a:r>
            <a:r>
              <a:rPr lang="en-US" altLang="zh-CN" sz="1000" b="1" dirty="0"/>
              <a:t>– Page 22</a:t>
            </a:r>
          </a:p>
          <a:p>
            <a:r>
              <a:rPr lang="en-US" altLang="zh-CN" sz="1000" dirty="0"/>
              <a:t>Monthly user activities since go live </a:t>
            </a:r>
            <a:r>
              <a:rPr lang="en-US" altLang="zh-CN" sz="1000" b="1" dirty="0"/>
              <a:t>– Page 23</a:t>
            </a:r>
          </a:p>
          <a:p>
            <a:r>
              <a:rPr lang="en-US" altLang="zh-CN" b="1" dirty="0"/>
              <a:t>User Preferred Charging Destination</a:t>
            </a:r>
          </a:p>
          <a:p>
            <a:r>
              <a:rPr lang="en-US" altLang="zh-CN" sz="1000" dirty="0"/>
              <a:t>User preferred charging destination analysis CW02 vs. CW01 –</a:t>
            </a:r>
            <a:r>
              <a:rPr lang="en-US" altLang="zh-CN" sz="1000" b="1" dirty="0"/>
              <a:t> Page 24</a:t>
            </a:r>
          </a:p>
          <a:p>
            <a:r>
              <a:rPr lang="en-US" altLang="zh-CN" sz="1000" dirty="0"/>
              <a:t>Weekly user preferred charging destination since go live </a:t>
            </a:r>
            <a:r>
              <a:rPr lang="en-US" altLang="zh-CN" sz="1000" b="1" dirty="0"/>
              <a:t>– Page 25</a:t>
            </a:r>
          </a:p>
          <a:p>
            <a:r>
              <a:rPr lang="en-US" altLang="zh-CN" sz="1000" dirty="0"/>
              <a:t>Average weekly selected times &amp; average daily selected times</a:t>
            </a:r>
            <a:r>
              <a:rPr lang="en-US" altLang="zh-CN" sz="1000" b="1" dirty="0"/>
              <a:t>– Page 26</a:t>
            </a:r>
          </a:p>
          <a:p>
            <a:r>
              <a:rPr lang="en-US" altLang="zh-CN" sz="1000" dirty="0"/>
              <a:t>Monthly user preferred charging destination since go live</a:t>
            </a:r>
            <a:r>
              <a:rPr lang="en-US" altLang="zh-CN" sz="1000" b="1" dirty="0"/>
              <a:t>– Page 27</a:t>
            </a:r>
          </a:p>
          <a:p>
            <a:r>
              <a:rPr lang="en-US" altLang="zh-CN" b="1" dirty="0"/>
              <a:t>Recommended Times</a:t>
            </a:r>
          </a:p>
          <a:p>
            <a:r>
              <a:rPr lang="en-US" altLang="zh-CN" sz="1000" dirty="0"/>
              <a:t>Daily recommended times CW02 vs. CW01 </a:t>
            </a:r>
            <a:r>
              <a:rPr lang="en-US" altLang="zh-CN" sz="1000" b="1" dirty="0"/>
              <a:t>– Page 28</a:t>
            </a:r>
          </a:p>
          <a:p>
            <a:r>
              <a:rPr lang="en-US" altLang="zh-CN" sz="1000" dirty="0"/>
              <a:t>Weekly recommended times since go live </a:t>
            </a:r>
            <a:r>
              <a:rPr lang="en-US" altLang="zh-CN" sz="1000" b="1" dirty="0"/>
              <a:t>– Page 29</a:t>
            </a:r>
          </a:p>
          <a:p>
            <a:r>
              <a:rPr lang="en-US" altLang="zh-CN" sz="1000" dirty="0"/>
              <a:t>Average weekly recommended times &amp; average daily recommended times</a:t>
            </a:r>
            <a:r>
              <a:rPr lang="en-US" altLang="zh-CN" sz="1000" b="1" dirty="0"/>
              <a:t>– Page 30</a:t>
            </a:r>
          </a:p>
          <a:p>
            <a:r>
              <a:rPr lang="en-US" altLang="zh-CN" sz="1000" dirty="0"/>
              <a:t>Monthly recommended times since go live </a:t>
            </a:r>
            <a:r>
              <a:rPr lang="en-US" altLang="zh-CN" sz="1000" b="1" dirty="0"/>
              <a:t>– Page 31</a:t>
            </a:r>
          </a:p>
          <a:p>
            <a:r>
              <a:rPr lang="en-US" altLang="zh-CN" b="1" dirty="0"/>
              <a:t>IT Operation</a:t>
            </a:r>
          </a:p>
          <a:p>
            <a:r>
              <a:rPr lang="en-US" altLang="zh-CN" sz="1000" dirty="0"/>
              <a:t>Tickets/requests report of CW02</a:t>
            </a:r>
            <a:r>
              <a:rPr lang="en-US" altLang="zh-CN" sz="1000" b="1" dirty="0"/>
              <a:t>– Page 32</a:t>
            </a:r>
          </a:p>
          <a:p>
            <a:r>
              <a:rPr lang="en-US" altLang="zh-CN" sz="1000" dirty="0"/>
              <a:t>Log &amp; alert review report of CW02</a:t>
            </a:r>
            <a:r>
              <a:rPr lang="en-US" altLang="zh-CN" sz="1000" b="1" dirty="0"/>
              <a:t>-Page 33</a:t>
            </a:r>
          </a:p>
          <a:p>
            <a:r>
              <a:rPr lang="en-US" altLang="zh-CN" sz="1000" dirty="0"/>
              <a:t>SLA report of CW02</a:t>
            </a:r>
            <a:r>
              <a:rPr lang="en-US" altLang="zh-CN" sz="1000" b="1" dirty="0"/>
              <a:t>-Page 34</a:t>
            </a:r>
          </a:p>
          <a:p>
            <a:endParaRPr lang="en-US" altLang="zh-CN" sz="1000" b="1" dirty="0"/>
          </a:p>
          <a:p>
            <a:endParaRPr lang="en-US" sz="1200" dirty="0"/>
          </a:p>
          <a:p>
            <a:endParaRPr lang="en-US" sz="800" dirty="0"/>
          </a:p>
        </p:txBody>
      </p:sp>
    </p:spTree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670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User activities CW02 vs. CW01</a:t>
            </a:r>
            <a:endParaRPr lang="en-US" dirty="0"/>
          </a:p>
        </p:txBody>
      </p:sp>
      <p:graphicFrame>
        <p:nvGraphicFramePr>
          <p:cNvPr id="7" name="Chart 7"/>
          <p:cNvGraphicFramePr/>
          <p:nvPr>
            <p:extLst>
              <p:ext uri="{D42A27DB-BD31-4B8C-83A1-F6EECF244321}">
                <p14:modId xmlns:p14="http://schemas.microsoft.com/office/powerpoint/2010/main" val="1252262840"/>
              </p:ext>
            </p:extLst>
          </p:nvPr>
        </p:nvGraphicFramePr>
        <p:xfrm>
          <a:off x="685800" y="2133599"/>
          <a:ext cx="5305425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9" name="TextBox 5"/>
          <p:cNvSpPr txBox="1"/>
          <p:nvPr/>
        </p:nvSpPr>
        <p:spPr>
          <a:xfrm>
            <a:off x="695325" y="990600"/>
            <a:ext cx="9783127" cy="69910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Daily discover more: the total times that users have clicked “Discover More” button to see Audi Models detail information on Audi.cn.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Daily contact: the total times that users have clicked 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“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Contact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” 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button to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 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ask for help from operations team.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Daily request test drive: the total times that users have clicked “Request a test drive” button to apply for a test drive on Audi.cn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257800" y="21336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11" name="Chart 7">
            <a:extLst>
              <a:ext uri="{FF2B5EF4-FFF2-40B4-BE49-F238E27FC236}">
                <a16:creationId xmlns:a16="http://schemas.microsoft.com/office/drawing/2014/main" id="{A407E3E3-E10C-42D1-AECF-5834D4CB10E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58660120"/>
              </p:ext>
            </p:extLst>
          </p:nvPr>
        </p:nvGraphicFramePr>
        <p:xfrm>
          <a:off x="6239046" y="2133599"/>
          <a:ext cx="5305425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2" name="TextBox 9">
            <a:extLst>
              <a:ext uri="{FF2B5EF4-FFF2-40B4-BE49-F238E27FC236}">
                <a16:creationId xmlns:a16="http://schemas.microsoft.com/office/drawing/2014/main" id="{F0D59EC9-54F5-47EE-8B22-E5876B56F55B}"/>
              </a:ext>
            </a:extLst>
          </p:cNvPr>
          <p:cNvSpPr txBox="1"/>
          <p:nvPr/>
        </p:nvSpPr>
        <p:spPr>
          <a:xfrm>
            <a:off x="10811046" y="21336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687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 user activities since go live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9390391" cy="69910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Discover more: the total times that users have clicked "Discover More" button to see Audi Models detail information on Audi.cn.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Contact: the total times that users have clicked "Contact" button to ask for help from operations team.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Request test drive: the total times that users have clicked "Request a test drive" button to apply for a test drive on Audi.cn.</a:t>
            </a:r>
          </a:p>
        </p:txBody>
      </p:sp>
      <p:graphicFrame>
        <p:nvGraphicFramePr>
          <p:cNvPr id="9" name="Chart 7"/>
          <p:cNvGraphicFramePr/>
          <p:nvPr>
            <p:extLst>
              <p:ext uri="{D42A27DB-BD31-4B8C-83A1-F6EECF244321}">
                <p14:modId xmlns:p14="http://schemas.microsoft.com/office/powerpoint/2010/main" val="3576670487"/>
              </p:ext>
            </p:extLst>
          </p:nvPr>
        </p:nvGraphicFramePr>
        <p:xfrm>
          <a:off x="696913" y="2133600"/>
          <a:ext cx="10884766" cy="43434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01200" y="2133599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851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user activities &amp; average daily user activities </a:t>
            </a:r>
            <a:endParaRPr lang="en-US" dirty="0"/>
          </a:p>
        </p:txBody>
      </p:sp>
      <p:graphicFrame>
        <p:nvGraphicFramePr>
          <p:cNvPr id="8" name="Chart 7"/>
          <p:cNvGraphicFramePr/>
          <p:nvPr>
            <p:extLst>
              <p:ext uri="{D42A27DB-BD31-4B8C-83A1-F6EECF244321}">
                <p14:modId xmlns:p14="http://schemas.microsoft.com/office/powerpoint/2010/main" val="1001047441"/>
              </p:ext>
            </p:extLst>
          </p:nvPr>
        </p:nvGraphicFramePr>
        <p:xfrm>
          <a:off x="685800" y="2133600"/>
          <a:ext cx="5410200" cy="4191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706870" y="1015336"/>
            <a:ext cx="9811981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user activities</a:t>
            </a:r>
            <a:r>
              <a:rPr lang="en-US" altLang="zh-CN" sz="1400" kern="0" dirty="0"/>
              <a:t>: the average weekly </a:t>
            </a:r>
            <a:r>
              <a:rPr lang="en-US" altLang="zh-CN" sz="1400" dirty="0"/>
              <a:t>user activities </a:t>
            </a:r>
            <a:r>
              <a:rPr lang="en-US" altLang="zh-CN" sz="1400" kern="0" dirty="0"/>
              <a:t>equals to </a:t>
            </a:r>
            <a:r>
              <a:rPr lang="en-US" altLang="zh-CN" sz="1400" dirty="0"/>
              <a:t>times of user activities </a:t>
            </a:r>
            <a:r>
              <a:rPr lang="en-US" altLang="zh-CN" sz="1400" kern="0" dirty="0"/>
              <a:t>from go live till </a:t>
            </a:r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end of this week/number of weeks; e.g. the average weekly user activities of  CW21=Sum(CW15:CW21)/7</a:t>
            </a:r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user activities</a:t>
            </a:r>
            <a:r>
              <a:rPr lang="en-US" altLang="zh-CN" sz="1400" kern="0" dirty="0"/>
              <a:t>: e.g. the average daily  user activities of  CW21= total</a:t>
            </a:r>
            <a:r>
              <a:rPr lang="en-US" altLang="zh-CN" sz="1400" dirty="0"/>
              <a:t> times of user activities </a:t>
            </a:r>
            <a:r>
              <a:rPr lang="en-US" altLang="zh-CN" sz="1400" kern="0" dirty="0"/>
              <a:t>of CW21/7</a:t>
            </a:r>
          </a:p>
        </p:txBody>
      </p:sp>
      <p:graphicFrame>
        <p:nvGraphicFramePr>
          <p:cNvPr id="10" name="Chart 7"/>
          <p:cNvGraphicFramePr/>
          <p:nvPr>
            <p:extLst>
              <p:ext uri="{D42A27DB-BD31-4B8C-83A1-F6EECF244321}">
                <p14:modId xmlns:p14="http://schemas.microsoft.com/office/powerpoint/2010/main" val="2732905428"/>
              </p:ext>
            </p:extLst>
          </p:nvPr>
        </p:nvGraphicFramePr>
        <p:xfrm>
          <a:off x="6400800" y="2133600"/>
          <a:ext cx="5410200" cy="4191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732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 user activities since go live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706870" y="1015336"/>
            <a:ext cx="9374361" cy="69910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Discover more: the total times that users have clicked "Discover More" button to see Audi Models detail information on Audi.cn.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Contact: the total times that users have clicked "Contact" button to ask for help from operations team.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Request test drive: the total times that users have clicked "Request a test drive" button to apply for a test drive on Audi.cn.</a:t>
            </a:r>
          </a:p>
        </p:txBody>
      </p:sp>
      <p:graphicFrame>
        <p:nvGraphicFramePr>
          <p:cNvPr id="7" name="图表 6"/>
          <p:cNvGraphicFramePr/>
          <p:nvPr>
            <p:extLst>
              <p:ext uri="{D42A27DB-BD31-4B8C-83A1-F6EECF244321}">
                <p14:modId xmlns:p14="http://schemas.microsoft.com/office/powerpoint/2010/main" val="398760825"/>
              </p:ext>
            </p:extLst>
          </p:nvPr>
        </p:nvGraphicFramePr>
        <p:xfrm>
          <a:off x="695325" y="2143664"/>
          <a:ext cx="7543800" cy="35475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8" name="Object 15"/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3640909766"/>
              </p:ext>
            </p:extLst>
          </p:nvPr>
        </p:nvGraphicFramePr>
        <p:xfrm>
          <a:off x="8382000" y="2148558"/>
          <a:ext cx="3276600" cy="35426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750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95325" y="368299"/>
            <a:ext cx="11341099" cy="612429"/>
          </a:xfrm>
        </p:spPr>
        <p:txBody>
          <a:bodyPr/>
          <a:lstStyle/>
          <a:p>
            <a:r>
              <a:rPr lang="en-US" dirty="0"/>
              <a:t>User preferred charging destination analysis CW</a:t>
            </a:r>
            <a:r>
              <a:rPr lang="en-US" altLang="zh-CN" dirty="0"/>
              <a:t>02</a:t>
            </a:r>
            <a:r>
              <a:rPr lang="en-US" dirty="0"/>
              <a:t> vs. CW</a:t>
            </a:r>
            <a:r>
              <a:rPr lang="en-US" altLang="zh-CN" dirty="0"/>
              <a:t>01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469900" y="1295400"/>
            <a:ext cx="1134110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The pie chart shows the percentage of times that users have selected following types of nearby activities to filter charging station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e.g. The percentage of food equals to times that users selected food from in CW26/times that users selected all following types in CW26.</a:t>
            </a:r>
          </a:p>
        </p:txBody>
      </p:sp>
      <p:sp>
        <p:nvSpPr>
          <p:cNvPr id="13" name="TextBox 1">
            <a:extLst>
              <a:ext uri="{FF2B5EF4-FFF2-40B4-BE49-F238E27FC236}">
                <a16:creationId xmlns:a16="http://schemas.microsoft.com/office/drawing/2014/main" id="{0BAFE3C6-8A46-4563-91D6-31F26DA9A704}"/>
              </a:ext>
            </a:extLst>
          </p:cNvPr>
          <p:cNvSpPr txBox="1"/>
          <p:nvPr/>
        </p:nvSpPr>
        <p:spPr>
          <a:xfrm>
            <a:off x="1447800" y="3428999"/>
            <a:ext cx="2758769" cy="61292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*The data for CW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02 is 0, </a:t>
            </a:r>
          </a:p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so there is no pie chart can be show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0" name="TextBox 1">
            <a:extLst>
              <a:ext uri="{FF2B5EF4-FFF2-40B4-BE49-F238E27FC236}">
                <a16:creationId xmlns:a16="http://schemas.microsoft.com/office/drawing/2014/main" id="{2E5B2C2D-4E1B-409F-80A2-3E1C3DBFF142}"/>
              </a:ext>
            </a:extLst>
          </p:cNvPr>
          <p:cNvSpPr txBox="1"/>
          <p:nvPr/>
        </p:nvSpPr>
        <p:spPr>
          <a:xfrm>
            <a:off x="7985431" y="3428999"/>
            <a:ext cx="2758769" cy="61292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*The data for CW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01 is 0, </a:t>
            </a:r>
          </a:p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so there is no pie chart can be show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777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 user preferred charging destination analysis since go live</a:t>
            </a:r>
            <a:endParaRPr lang="en-US" dirty="0"/>
          </a:p>
        </p:txBody>
      </p:sp>
      <p:graphicFrame>
        <p:nvGraphicFramePr>
          <p:cNvPr id="9" name="Chart 7"/>
          <p:cNvGraphicFramePr/>
          <p:nvPr>
            <p:extLst>
              <p:ext uri="{D42A27DB-BD31-4B8C-83A1-F6EECF244321}">
                <p14:modId xmlns:p14="http://schemas.microsoft.com/office/powerpoint/2010/main" val="2872620692"/>
              </p:ext>
            </p:extLst>
          </p:nvPr>
        </p:nvGraphicFramePr>
        <p:xfrm>
          <a:off x="695325" y="1447800"/>
          <a:ext cx="9665566" cy="4953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525000" y="15240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77850" y="962680"/>
            <a:ext cx="113411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The </a:t>
            </a:r>
            <a:r>
              <a:rPr lang="en-US" altLang="zh-CN" sz="1400" dirty="0">
                <a:solidFill>
                  <a:srgbClr val="000000"/>
                </a:solidFill>
                <a:latin typeface="Audi Type"/>
              </a:rPr>
              <a:t>bar char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 shows the times that users have selected following types of nearby activities </a:t>
            </a:r>
            <a:r>
              <a:rPr lang="en-US" sz="1400" noProof="0" dirty="0">
                <a:solidFill>
                  <a:srgbClr val="000000"/>
                </a:solidFill>
                <a:latin typeface="Audi Type"/>
              </a:rPr>
              <a:t>when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filtering</a:t>
            </a:r>
            <a:r>
              <a:rPr kumimoji="0" lang="en-US" sz="14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charging stations.</a:t>
            </a:r>
          </a:p>
        </p:txBody>
      </p:sp>
    </p:spTree>
  </p:cSld>
  <p:clrMapOvr>
    <a:masterClrMapping/>
  </p:clrMapOvr>
  <p:transition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800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selected times &amp; average daily selected times</a:t>
            </a:r>
            <a:endParaRPr lang="en-US" dirty="0">
              <a:solidFill>
                <a:srgbClr val="FF0000"/>
              </a:solidFill>
            </a:endParaRPr>
          </a:p>
        </p:txBody>
      </p:sp>
      <p:graphicFrame>
        <p:nvGraphicFramePr>
          <p:cNvPr id="8" name="Chart 7"/>
          <p:cNvGraphicFramePr/>
          <p:nvPr>
            <p:extLst>
              <p:ext uri="{D42A27DB-BD31-4B8C-83A1-F6EECF244321}">
                <p14:modId xmlns:p14="http://schemas.microsoft.com/office/powerpoint/2010/main" val="1766960336"/>
              </p:ext>
            </p:extLst>
          </p:nvPr>
        </p:nvGraphicFramePr>
        <p:xfrm>
          <a:off x="685800" y="2149642"/>
          <a:ext cx="5410200" cy="4343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0" name="Chart 7"/>
          <p:cNvGraphicFramePr/>
          <p:nvPr>
            <p:extLst>
              <p:ext uri="{D42A27DB-BD31-4B8C-83A1-F6EECF244321}">
                <p14:modId xmlns:p14="http://schemas.microsoft.com/office/powerpoint/2010/main" val="532718632"/>
              </p:ext>
            </p:extLst>
          </p:nvPr>
        </p:nvGraphicFramePr>
        <p:xfrm>
          <a:off x="6400800" y="2133600"/>
          <a:ext cx="5410200" cy="4343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706870" y="1015336"/>
            <a:ext cx="9262151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: the average weekly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equals to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from go live till </a:t>
            </a:r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end of this week/number of weeks; e.g. the average weekly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of  CW21=Sum(CW15:CW21)/7</a:t>
            </a:r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: e.g. the average daily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of  CW21= total</a:t>
            </a:r>
            <a:r>
              <a:rPr lang="en-US" altLang="zh-CN" sz="1400" dirty="0"/>
              <a:t> selected times </a:t>
            </a:r>
            <a:r>
              <a:rPr lang="en-US" altLang="zh-CN" sz="1400" kern="0" dirty="0"/>
              <a:t>of CW21/7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5264785" y="2157217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0972800" y="2149642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818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nthly user preferred charging destination analysis since go live</a:t>
            </a:r>
          </a:p>
        </p:txBody>
      </p:sp>
      <p:sp>
        <p:nvSpPr>
          <p:cNvPr id="8" name="Rectangle 7"/>
          <p:cNvSpPr/>
          <p:nvPr/>
        </p:nvSpPr>
        <p:spPr>
          <a:xfrm>
            <a:off x="609600" y="1315546"/>
            <a:ext cx="1134110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The pie chart shows the percentage of times that users have selected following types of nearby activities to filter charging station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e.g. The percentage of food equals to times that users selected food from beginning of this month /times that users selected all following types from beginning of this month. </a:t>
            </a:r>
          </a:p>
        </p:txBody>
      </p:sp>
      <p:graphicFrame>
        <p:nvGraphicFramePr>
          <p:cNvPr id="9" name="图表 8"/>
          <p:cNvGraphicFramePr/>
          <p:nvPr>
            <p:extLst>
              <p:ext uri="{D42A27DB-BD31-4B8C-83A1-F6EECF244321}">
                <p14:modId xmlns:p14="http://schemas.microsoft.com/office/powerpoint/2010/main" val="1770036940"/>
              </p:ext>
            </p:extLst>
          </p:nvPr>
        </p:nvGraphicFramePr>
        <p:xfrm>
          <a:off x="6245087" y="2527762"/>
          <a:ext cx="5250815" cy="39492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10751449" y="2502111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1">
            <a:extLst>
              <a:ext uri="{FF2B5EF4-FFF2-40B4-BE49-F238E27FC236}">
                <a16:creationId xmlns:a16="http://schemas.microsoft.com/office/drawing/2014/main" id="{8070D6D5-0946-425D-A04B-844A864C0975}"/>
              </a:ext>
            </a:extLst>
          </p:cNvPr>
          <p:cNvSpPr txBox="1"/>
          <p:nvPr/>
        </p:nvSpPr>
        <p:spPr>
          <a:xfrm>
            <a:off x="1447800" y="3428999"/>
            <a:ext cx="2758769" cy="61292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*The data for </a:t>
            </a:r>
            <a:r>
              <a:rPr lang="en-US" sz="1400" kern="0" dirty="0"/>
              <a:t>Jan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.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is 0, </a:t>
            </a:r>
          </a:p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so there is no pie chart can be show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525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ily recommended times CW0</a:t>
            </a:r>
            <a:r>
              <a:rPr lang="en-US" altLang="zh-CN" dirty="0"/>
              <a:t>2</a:t>
            </a:r>
            <a:r>
              <a:rPr lang="en-US" dirty="0"/>
              <a:t> vs. CW</a:t>
            </a:r>
            <a:r>
              <a:rPr lang="en-US" altLang="zh-CN" dirty="0"/>
              <a:t>01</a:t>
            </a:r>
            <a:br>
              <a:rPr lang="en-US" altLang="zh-CN" dirty="0"/>
            </a:b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14375" y="1019175"/>
            <a:ext cx="8032584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D</a:t>
            </a:r>
            <a:r>
              <a:rPr kumimoji="0" lang="en-US" altLang="zh-CN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aily </a:t>
            </a:r>
            <a:r>
              <a:rPr lang="en-US" altLang="zh-CN" sz="1400" noProof="0" dirty="0"/>
              <a:t>recommended times</a:t>
            </a:r>
            <a:r>
              <a:rPr lang="en-US" altLang="zh-CN" sz="1400" kern="0" dirty="0"/>
              <a:t>: the total times that e-</a:t>
            </a:r>
            <a:r>
              <a:rPr lang="en-US" altLang="zh-CN" sz="1400" kern="0" dirty="0" err="1"/>
              <a:t>tron</a:t>
            </a:r>
            <a:r>
              <a:rPr lang="en-US" altLang="zh-CN" sz="1400" kern="0" dirty="0"/>
              <a:t> has been recommended to users per day.</a:t>
            </a:r>
          </a:p>
          <a:p>
            <a:pPr>
              <a:lnSpc>
                <a:spcPct val="110000"/>
              </a:lnSpc>
            </a:pPr>
            <a:endParaRPr kumimoji="0" lang="en-US" sz="140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3" name="TextBox 1">
            <a:extLst>
              <a:ext uri="{FF2B5EF4-FFF2-40B4-BE49-F238E27FC236}">
                <a16:creationId xmlns:a16="http://schemas.microsoft.com/office/drawing/2014/main" id="{740C30BB-70EB-4A1B-B65D-FF5822088159}"/>
              </a:ext>
            </a:extLst>
          </p:cNvPr>
          <p:cNvSpPr txBox="1"/>
          <p:nvPr/>
        </p:nvSpPr>
        <p:spPr>
          <a:xfrm>
            <a:off x="2133600" y="3241796"/>
            <a:ext cx="2492670" cy="61292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*The data for CW</a:t>
            </a:r>
            <a:r>
              <a:rPr lang="en-US" sz="1400" kern="0" baseline="0" dirty="0"/>
              <a:t>0</a:t>
            </a:r>
            <a:r>
              <a:rPr lang="en-US" altLang="zh-CN" sz="1400" kern="0" baseline="0" dirty="0"/>
              <a:t>2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is 0, </a:t>
            </a:r>
          </a:p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so there is no chart can be show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1">
            <a:extLst>
              <a:ext uri="{FF2B5EF4-FFF2-40B4-BE49-F238E27FC236}">
                <a16:creationId xmlns:a16="http://schemas.microsoft.com/office/drawing/2014/main" id="{0B98B04D-12D4-4AAA-B932-838C854F6030}"/>
              </a:ext>
            </a:extLst>
          </p:cNvPr>
          <p:cNvSpPr txBox="1"/>
          <p:nvPr/>
        </p:nvSpPr>
        <p:spPr>
          <a:xfrm>
            <a:off x="7162800" y="3241796"/>
            <a:ext cx="2492670" cy="61292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*The data for CW</a:t>
            </a:r>
            <a:r>
              <a:rPr lang="en-US" altLang="zh-CN" sz="1400" kern="0" baseline="0" dirty="0"/>
              <a:t>01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is 0, </a:t>
            </a:r>
          </a:p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so there is no chart can be show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567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 recommended times 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8200899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Weekly </a:t>
            </a:r>
            <a:r>
              <a:rPr lang="en-US" altLang="zh-CN" sz="1400" dirty="0"/>
              <a:t>recommended times</a:t>
            </a:r>
            <a:r>
              <a:rPr lang="en-US" altLang="zh-CN" sz="1400" kern="0" dirty="0"/>
              <a:t>: the total times that e-</a:t>
            </a:r>
            <a:r>
              <a:rPr lang="en-US" altLang="zh-CN" sz="1400" kern="0" dirty="0" err="1"/>
              <a:t>tron</a:t>
            </a:r>
            <a:r>
              <a:rPr lang="en-US" altLang="zh-CN" sz="1400" kern="0" dirty="0"/>
              <a:t> has been commended to users per week.</a:t>
            </a:r>
          </a:p>
        </p:txBody>
      </p:sp>
      <p:graphicFrame>
        <p:nvGraphicFramePr>
          <p:cNvPr id="9" name="Chart 7"/>
          <p:cNvGraphicFramePr/>
          <p:nvPr>
            <p:extLst>
              <p:ext uri="{D42A27DB-BD31-4B8C-83A1-F6EECF244321}">
                <p14:modId xmlns:p14="http://schemas.microsoft.com/office/powerpoint/2010/main" val="3000644103"/>
              </p:ext>
            </p:extLst>
          </p:nvPr>
        </p:nvGraphicFramePr>
        <p:xfrm>
          <a:off x="697634" y="1295401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84385" y="130259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716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95325" y="304800"/>
            <a:ext cx="11341099" cy="612429"/>
          </a:xfrm>
        </p:spPr>
        <p:txBody>
          <a:bodyPr/>
          <a:lstStyle/>
          <a:p>
            <a:r>
              <a:rPr lang="en-US" dirty="0"/>
              <a:t>Data summary</a:t>
            </a:r>
            <a:br>
              <a:rPr lang="en-US" dirty="0"/>
            </a:br>
            <a:br>
              <a:rPr lang="en-US" sz="1200" dirty="0">
                <a:solidFill>
                  <a:srgbClr val="FF0000"/>
                </a:solidFill>
              </a:rPr>
            </a:br>
            <a:endParaRPr lang="en-US" dirty="0">
              <a:solidFill>
                <a:srgbClr val="FF0000"/>
              </a:solidFill>
            </a:endParaRPr>
          </a:p>
        </p:txBody>
      </p:sp>
      <p:graphicFrame>
        <p:nvGraphicFramePr>
          <p:cNvPr id="2" name="表格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5695352"/>
              </p:ext>
            </p:extLst>
          </p:nvPr>
        </p:nvGraphicFramePr>
        <p:xfrm>
          <a:off x="695325" y="634662"/>
          <a:ext cx="10896600" cy="588284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063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7036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716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8161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8161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8161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628853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CN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  <a:cs typeface="+mn-cs"/>
                        </a:rPr>
                        <a:t>Item</a:t>
                      </a:r>
                      <a:endParaRPr lang="zh-CN" altLang="en-US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  <a:cs typeface="+mn-cs"/>
                        </a:rPr>
                        <a:t>CW0</a:t>
                      </a:r>
                      <a:r>
                        <a:rPr lang="en-US" altLang="zh-CN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  <a:cs typeface="+mn-cs"/>
                        </a:rPr>
                        <a:t>2</a:t>
                      </a:r>
                      <a: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  <a:cs typeface="+mn-cs"/>
                        </a:rPr>
                        <a:t>,</a:t>
                      </a:r>
                      <a:r>
                        <a:rPr lang="en-US" sz="1200" b="1" i="0" u="none" strike="noStrike" kern="1200" baseline="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  <a:cs typeface="+mn-cs"/>
                        </a:rPr>
                        <a:t> </a:t>
                      </a:r>
                      <a:r>
                        <a:rPr lang="en-US" altLang="zh-CN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  <a:cs typeface="+mn-cs"/>
                        </a:rPr>
                        <a:t>2020</a:t>
                      </a:r>
                      <a:endParaRPr lang="en-US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  <a:cs typeface="+mn-cs"/>
                        </a:rPr>
                        <a:t>CW</a:t>
                      </a:r>
                      <a:r>
                        <a:rPr lang="en-US" altLang="zh-CN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  <a:cs typeface="+mn-cs"/>
                        </a:rPr>
                        <a:t>01,2019</a:t>
                      </a:r>
                      <a:endParaRPr lang="en-US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G</a:t>
                      </a:r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rowth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YTD total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YTD </a:t>
                      </a:r>
                      <a:r>
                        <a:rPr lang="en-US" altLang="zh-CN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w</a:t>
                      </a:r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eekly average</a:t>
                      </a:r>
                    </a:p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(CW1</a:t>
                      </a:r>
                      <a:r>
                        <a:rPr lang="en-US" altLang="zh-CN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5, 2019</a:t>
                      </a:r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-CW</a:t>
                      </a:r>
                      <a:r>
                        <a:rPr lang="en-US" altLang="zh-CN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02,2020</a:t>
                      </a:r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32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App 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Downloads</a:t>
                      </a:r>
                    </a:p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(Unit: times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2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5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-52.0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131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8.275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32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Active users</a:t>
                      </a:r>
                    </a:p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  <a:cs typeface="+mn-cs"/>
                        </a:rPr>
                        <a:t>(Unit: users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1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8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-25.0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239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30.975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32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Journeys</a:t>
                      </a:r>
                    </a:p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等线" panose="02010600030101010101" pitchFamily="2" charset="-122"/>
                        </a:rPr>
                        <a:t>(Unit: times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-100.0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342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8.55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632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Running Time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  <a:cs typeface="+mn-cs"/>
                        </a:rPr>
                        <a:t>(Unit: minutes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9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6.6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36.36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533.3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3.3325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63296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Food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1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275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63296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Shopping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9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225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63296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Fun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6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15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63296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Beauty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3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075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63296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Fitness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632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Discover More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3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00.0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309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7.725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632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Contact Audi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98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.45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632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Request Test Drive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等线" panose="02010600030101010101" pitchFamily="2" charset="-122"/>
                        </a:rPr>
                        <a:t>(Unit: times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17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.925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632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Recommendation times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等线" panose="02010600030101010101" pitchFamily="2" charset="-122"/>
                        </a:rPr>
                        <a:t>(Unit: times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68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.7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2573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Incident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(Unit: times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</a:tbl>
          </a:graphicData>
        </a:graphic>
      </p:graphicFrame>
    </p:spTree>
  </p:cSld>
  <p:clrMapOvr>
    <a:masterClrMapping/>
  </p:clrMapOvr>
  <p:transition>
    <p:fade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543" name="think-cell Slide" r:id="rId6" imgW="5715" imgH="5715" progId="TCLayout.ActiveDocument.1">
                  <p:embed/>
                </p:oleObj>
              </mc:Choice>
              <mc:Fallback>
                <p:oleObj name="think-cell Slide" r:id="rId6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recommended times &amp; average daily recommended times</a:t>
            </a:r>
            <a:endParaRPr lang="en-US" dirty="0"/>
          </a:p>
        </p:txBody>
      </p:sp>
      <p:graphicFrame>
        <p:nvGraphicFramePr>
          <p:cNvPr id="8" name="Chart 7"/>
          <p:cNvGraphicFramePr/>
          <p:nvPr>
            <p:extLst>
              <p:ext uri="{D42A27DB-BD31-4B8C-83A1-F6EECF244321}">
                <p14:modId xmlns:p14="http://schemas.microsoft.com/office/powerpoint/2010/main" val="3481870472"/>
              </p:ext>
            </p:extLst>
          </p:nvPr>
        </p:nvGraphicFramePr>
        <p:xfrm>
          <a:off x="68580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706870" y="1015336"/>
            <a:ext cx="11219225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 recommended times </a:t>
            </a:r>
            <a:r>
              <a:rPr lang="en-US" altLang="zh-CN" sz="1400" kern="0" dirty="0"/>
              <a:t>: the average weekly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equals to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from go live till </a:t>
            </a:r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end of this week/number of weeks; e.g. the average weekly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of  CW21=Sum(CW15:CW21)/7</a:t>
            </a:r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: e.g. the average daily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of  CW21= total</a:t>
            </a:r>
            <a:r>
              <a:rPr lang="en-US" altLang="zh-CN" sz="1400" dirty="0"/>
              <a:t> recommended times </a:t>
            </a:r>
            <a:r>
              <a:rPr lang="en-US" altLang="zh-CN" sz="1400" kern="0" dirty="0"/>
              <a:t>of CW21/7</a:t>
            </a:r>
          </a:p>
        </p:txBody>
      </p:sp>
      <p:graphicFrame>
        <p:nvGraphicFramePr>
          <p:cNvPr id="10" name="Chart 7"/>
          <p:cNvGraphicFramePr/>
          <p:nvPr>
            <p:extLst>
              <p:ext uri="{D42A27DB-BD31-4B8C-83A1-F6EECF244321}">
                <p14:modId xmlns:p14="http://schemas.microsoft.com/office/powerpoint/2010/main" val="2089438395"/>
              </p:ext>
            </p:extLst>
          </p:nvPr>
        </p:nvGraphicFramePr>
        <p:xfrm>
          <a:off x="6418622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340985" y="21336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1067487" y="21336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588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 recommended times since go live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8402878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Monthly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: the total times that e-</a:t>
            </a:r>
            <a:r>
              <a:rPr lang="en-US" altLang="zh-CN" sz="1400" kern="0" dirty="0" err="1"/>
              <a:t>tron</a:t>
            </a:r>
            <a:r>
              <a:rPr lang="en-US" altLang="zh-CN" sz="1400" kern="0" dirty="0"/>
              <a:t> has been commended to users per month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>
            <p:extLst>
              <p:ext uri="{D42A27DB-BD31-4B8C-83A1-F6EECF244321}">
                <p14:modId xmlns:p14="http://schemas.microsoft.com/office/powerpoint/2010/main" val="655013174"/>
              </p:ext>
            </p:extLst>
          </p:nvPr>
        </p:nvGraphicFramePr>
        <p:xfrm>
          <a:off x="697634" y="1295401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84385" y="1293963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66879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607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panose="020B0505040200000003" pitchFamily="34" charset="0"/>
              <a:ea typeface="+mj-ea"/>
              <a:cs typeface="+mj-cs"/>
              <a:sym typeface="Audi Type Extended" panose="020B0505040200000003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85800" y="295621"/>
            <a:ext cx="11341099" cy="612429"/>
          </a:xfrm>
        </p:spPr>
        <p:txBody>
          <a:bodyPr/>
          <a:lstStyle/>
          <a:p>
            <a:r>
              <a:rPr lang="en-US" altLang="zh-CN" dirty="0"/>
              <a:t>Tickets/requests report of CW02</a:t>
            </a:r>
            <a:endParaRPr lang="en-US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47318067"/>
              </p:ext>
            </p:extLst>
          </p:nvPr>
        </p:nvGraphicFramePr>
        <p:xfrm>
          <a:off x="685800" y="1464205"/>
          <a:ext cx="10744200" cy="332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0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288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62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86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6670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664168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Ticket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   Volume</a:t>
                      </a:r>
                      <a:r>
                        <a:rPr lang="en-US" baseline="0" dirty="0"/>
                        <a:t> 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Response Tim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Restoration Tim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Incident</a:t>
                      </a:r>
                      <a:r>
                        <a:rPr lang="en-US" baseline="0" dirty="0"/>
                        <a:t> Description</a:t>
                      </a:r>
                      <a:endParaRPr lang="en-US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6416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P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6416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P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</a:p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6416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P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</a:p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6416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P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dirty="0"/>
                        <a:t>0</a:t>
                      </a:r>
                    </a:p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</a:p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</p:cSld>
  <p:clrMapOvr>
    <a:masterClrMapping/>
  </p:clrMapOvr>
  <p:transition>
    <p:fade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86055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618" name="think-cell Slide" r:id="rId5" imgW="235" imgH="235" progId="TCLayout.ActiveDocument.1">
                  <p:embed/>
                </p:oleObj>
              </mc:Choice>
              <mc:Fallback>
                <p:oleObj name="think-cell Slide" r:id="rId5" imgW="235" imgH="23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panose="020B0505040200000003" pitchFamily="34" charset="0"/>
              <a:ea typeface="+mj-ea"/>
              <a:cs typeface="+mj-cs"/>
              <a:sym typeface="Audi Type Extended" panose="020B0505040200000003" pitchFamily="34" charset="0"/>
            </a:endParaRPr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Log &amp; alert review report of CW02</a:t>
            </a:r>
            <a:br>
              <a:rPr lang="en-US" altLang="zh-CN" dirty="0"/>
            </a:br>
            <a:br>
              <a:rPr lang="zh-CN" altLang="zh-CN" dirty="0"/>
            </a:br>
            <a:endParaRPr lang="zh-CN" altLang="en-US" dirty="0"/>
          </a:p>
        </p:txBody>
      </p:sp>
      <p:graphicFrame>
        <p:nvGraphicFramePr>
          <p:cNvPr id="6" name="内容占位符 3">
            <a:extLst>
              <a:ext uri="{FF2B5EF4-FFF2-40B4-BE49-F238E27FC236}">
                <a16:creationId xmlns:a16="http://schemas.microsoft.com/office/drawing/2014/main" id="{D461F432-A2C3-4ED7-A3DF-6F7007CD96CB}"/>
              </a:ext>
            </a:extLst>
          </p:cNvPr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16055686"/>
              </p:ext>
            </p:extLst>
          </p:nvPr>
        </p:nvGraphicFramePr>
        <p:xfrm>
          <a:off x="695325" y="1447800"/>
          <a:ext cx="11164889" cy="16002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148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7642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203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2032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97642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9227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64229">
                  <a:extLst>
                    <a:ext uri="{9D8B030D-6E8A-4147-A177-3AD203B41FA5}">
                      <a16:colId xmlns:a16="http://schemas.microsoft.com/office/drawing/2014/main" val="488539033"/>
                    </a:ext>
                  </a:extLst>
                </a:gridCol>
              </a:tblGrid>
              <a:tr h="72052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Alarm Rule Name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Alarm Generated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Resource Type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bnormal Resource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Alarm Policy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Alarm Severity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微软雅黑"/>
                        </a:rPr>
                        <a:t>Alarm Status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79675"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he</a:t>
                      </a:r>
                      <a:r>
                        <a:rPr lang="en-US" altLang="zh-C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 is no alert</a:t>
                      </a:r>
                      <a:r>
                        <a:rPr lang="en-US" altLang="zh-CN" sz="18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happened in CW02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58078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38099078"/>
      </p:ext>
    </p:extLst>
  </p:cSld>
  <p:clrMapOvr>
    <a:masterClrMapping/>
  </p:clrMapOvr>
  <p:transition>
    <p:fade/>
  </p:transition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59672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635" name="think-cell Slide" r:id="rId5" imgW="235" imgH="235" progId="TCLayout.ActiveDocument.1">
                  <p:embed/>
                </p:oleObj>
              </mc:Choice>
              <mc:Fallback>
                <p:oleObj name="think-cell Slide" r:id="rId5" imgW="235" imgH="23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panose="020B0505040200000003" pitchFamily="34" charset="0"/>
              <a:ea typeface="+mj-ea"/>
              <a:cs typeface="+mj-cs"/>
              <a:sym typeface="Audi Type Extended" panose="020B0505040200000003" pitchFamily="34" charset="0"/>
            </a:endParaRPr>
          </a:p>
        </p:txBody>
      </p:sp>
      <p:graphicFrame>
        <p:nvGraphicFramePr>
          <p:cNvPr id="4" name="内容占位符 3"/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2692046300"/>
              </p:ext>
            </p:extLst>
          </p:nvPr>
        </p:nvGraphicFramePr>
        <p:xfrm>
          <a:off x="695325" y="1481139"/>
          <a:ext cx="11075987" cy="415765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595633">
                  <a:extLst>
                    <a:ext uri="{9D8B030D-6E8A-4147-A177-3AD203B41FA5}">
                      <a16:colId xmlns:a16="http://schemas.microsoft.com/office/drawing/2014/main" val="1238309421"/>
                    </a:ext>
                  </a:extLst>
                </a:gridCol>
                <a:gridCol w="259563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7209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72098">
                  <a:extLst>
                    <a:ext uri="{9D8B030D-6E8A-4147-A177-3AD203B41FA5}">
                      <a16:colId xmlns:a16="http://schemas.microsoft.com/office/drawing/2014/main" val="2859724340"/>
                    </a:ext>
                  </a:extLst>
                </a:gridCol>
                <a:gridCol w="17405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700259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Item</a:t>
                      </a:r>
                      <a:r>
                        <a:rPr lang="en-US" sz="16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Expected</a:t>
                      </a:r>
                      <a:r>
                        <a:rPr lang="en-US" sz="16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Service</a:t>
                      </a:r>
                      <a:r>
                        <a:rPr lang="en-US" sz="16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level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微软雅黑"/>
                        </a:rPr>
                        <a:t>Minimum</a:t>
                      </a:r>
                      <a:r>
                        <a:rPr lang="en-US" sz="16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微软雅黑"/>
                        </a:rPr>
                        <a:t> Service Level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ctual</a:t>
                      </a:r>
                      <a:r>
                        <a:rPr lang="en-US" sz="16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Service Level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9148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b="1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Relevant Application SLA</a:t>
                      </a: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Availability of Go e-</a:t>
                      </a:r>
                      <a:r>
                        <a:rPr lang="en-US" sz="1200" i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tron</a:t>
                      </a:r>
                      <a:r>
                        <a:rPr lang="en-US" sz="120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 Service</a:t>
                      </a: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99.2%</a:t>
                      </a: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91480">
                <a:tc rowSpan="4"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b="1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Infrastructure Systems SLA</a:t>
                      </a: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Elastic Cloud Server (ECS)</a:t>
                      </a: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99.95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b="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b="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9607896"/>
                  </a:ext>
                </a:extLst>
              </a:tr>
              <a:tr h="691480">
                <a:tc vMerge="1"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Elastic IP (EIP)</a:t>
                      </a: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99.95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b="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b="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37142125"/>
                  </a:ext>
                </a:extLst>
              </a:tr>
              <a:tr h="691480">
                <a:tc vMerge="1"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Elastic Load Balance (ELB)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99.95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b="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b="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49410210"/>
                  </a:ext>
                </a:extLst>
              </a:tr>
              <a:tr h="691480">
                <a:tc vMerge="1"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Relational Database Service (RDS) 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99.95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b="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b="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44599871"/>
                  </a:ext>
                </a:extLst>
              </a:tr>
            </a:tbl>
          </a:graphicData>
        </a:graphic>
      </p:graphicFrame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SLA report of CW02</a:t>
            </a:r>
            <a:br>
              <a:rPr lang="zh-CN" altLang="zh-CN" dirty="0"/>
            </a:b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873086479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704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85800" y="295621"/>
            <a:ext cx="11341099" cy="612429"/>
          </a:xfrm>
        </p:spPr>
        <p:txBody>
          <a:bodyPr/>
          <a:lstStyle/>
          <a:p>
            <a:r>
              <a:rPr lang="en-US" altLang="zh-CN" dirty="0"/>
              <a:t>Daily downloads CW02 vs. CW01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02544" y="914400"/>
            <a:ext cx="9784730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Daily downloads: the number of times that the app was downloaded from App Store(iOS) /Huawei market(Android) </a:t>
            </a:r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                /Baidu market(Android) per day.</a:t>
            </a:r>
          </a:p>
        </p:txBody>
      </p:sp>
      <p:graphicFrame>
        <p:nvGraphicFramePr>
          <p:cNvPr id="8" name="图表 7"/>
          <p:cNvGraphicFramePr/>
          <p:nvPr>
            <p:extLst>
              <p:ext uri="{D42A27DB-BD31-4B8C-83A1-F6EECF244321}">
                <p14:modId xmlns:p14="http://schemas.microsoft.com/office/powerpoint/2010/main" val="127008131"/>
              </p:ext>
            </p:extLst>
          </p:nvPr>
        </p:nvGraphicFramePr>
        <p:xfrm>
          <a:off x="696913" y="1447800"/>
          <a:ext cx="5294312" cy="35731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2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63887563"/>
              </p:ext>
            </p:extLst>
          </p:nvPr>
        </p:nvGraphicFramePr>
        <p:xfrm>
          <a:off x="685800" y="5648131"/>
          <a:ext cx="5305425" cy="684192"/>
        </p:xfrm>
        <a:graphic>
          <a:graphicData uri="http://schemas.openxmlformats.org/drawingml/2006/table">
            <a:tbl>
              <a:tblPr/>
              <a:tblGrid>
                <a:gridCol w="147170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1772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4310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7288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44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02</a:t>
                      </a:r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total 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downloads of App Store(iOS)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02 </a:t>
                      </a:r>
                      <a:r>
                        <a:rPr lang="en-US" altLang="zh-CN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otal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downloads of Huawei(Android）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W02 total downloads of Baidu(Android）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02 Total downloads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9632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0" name="图表 9">
            <a:extLst>
              <a:ext uri="{FF2B5EF4-FFF2-40B4-BE49-F238E27FC236}">
                <a16:creationId xmlns:a16="http://schemas.microsoft.com/office/drawing/2014/main" id="{262D0DC2-9FCE-499E-827F-EBA80BF0BED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51015545"/>
              </p:ext>
            </p:extLst>
          </p:nvPr>
        </p:nvGraphicFramePr>
        <p:xfrm>
          <a:off x="6313487" y="1447800"/>
          <a:ext cx="5294312" cy="35731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4" name="Table 8">
            <a:extLst>
              <a:ext uri="{FF2B5EF4-FFF2-40B4-BE49-F238E27FC236}">
                <a16:creationId xmlns:a16="http://schemas.microsoft.com/office/drawing/2014/main" id="{FA7C492B-54E4-4EDE-9BF4-4B5C71CEE2E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86622540"/>
              </p:ext>
            </p:extLst>
          </p:nvPr>
        </p:nvGraphicFramePr>
        <p:xfrm>
          <a:off x="6313487" y="5648131"/>
          <a:ext cx="5305425" cy="684192"/>
        </p:xfrm>
        <a:graphic>
          <a:graphicData uri="http://schemas.openxmlformats.org/drawingml/2006/table">
            <a:tbl>
              <a:tblPr/>
              <a:tblGrid>
                <a:gridCol w="147170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1772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4310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7288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445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01</a:t>
                      </a:r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total 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downloads of App Store(iOS)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01 </a:t>
                      </a:r>
                      <a:r>
                        <a:rPr lang="en-US" altLang="zh-CN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otal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downloads of Huawei(Android）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W01 total downloads of Baidu(Android）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01 Total downloads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9632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480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 downloads since go live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914400"/>
            <a:ext cx="9874498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Weekly downloads: the number of times that the app was downloaded from App Store(iOS) /Huawei market(Android) </a:t>
            </a:r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                 /Baidu market(Android) per week.</a:t>
            </a:r>
          </a:p>
        </p:txBody>
      </p:sp>
      <p:graphicFrame>
        <p:nvGraphicFramePr>
          <p:cNvPr id="9" name="Chart 7"/>
          <p:cNvGraphicFramePr/>
          <p:nvPr>
            <p:extLst>
              <p:ext uri="{D42A27DB-BD31-4B8C-83A1-F6EECF244321}">
                <p14:modId xmlns:p14="http://schemas.microsoft.com/office/powerpoint/2010/main" val="1379239255"/>
              </p:ext>
            </p:extLst>
          </p:nvPr>
        </p:nvGraphicFramePr>
        <p:xfrm>
          <a:off x="685800" y="1481138"/>
          <a:ext cx="9741766" cy="43433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" name="TextBox 5"/>
          <p:cNvSpPr txBox="1"/>
          <p:nvPr/>
        </p:nvSpPr>
        <p:spPr>
          <a:xfrm>
            <a:off x="9684385" y="14478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12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48740983"/>
              </p:ext>
            </p:extLst>
          </p:nvPr>
        </p:nvGraphicFramePr>
        <p:xfrm>
          <a:off x="685800" y="5986675"/>
          <a:ext cx="5715000" cy="561132"/>
        </p:xfrm>
        <a:graphic>
          <a:graphicData uri="http://schemas.openxmlformats.org/drawingml/2006/table">
            <a:tbl>
              <a:tblPr/>
              <a:tblGrid>
                <a:gridCol w="15853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271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4679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5571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downloads of App Store(iOS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)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downloads of Huawei(Android）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downloads of</a:t>
                      </a:r>
                      <a:r>
                        <a:rPr lang="en-US" altLang="zh-CN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Baidu(Android）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downloads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9502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1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7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458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downloads &amp; average daily downloads</a:t>
            </a:r>
            <a:endParaRPr lang="en-US" dirty="0"/>
          </a:p>
        </p:txBody>
      </p:sp>
      <p:graphicFrame>
        <p:nvGraphicFramePr>
          <p:cNvPr id="8" name="Chart 7"/>
          <p:cNvGraphicFramePr/>
          <p:nvPr>
            <p:extLst>
              <p:ext uri="{D42A27DB-BD31-4B8C-83A1-F6EECF244321}">
                <p14:modId xmlns:p14="http://schemas.microsoft.com/office/powerpoint/2010/main" val="2106161246"/>
              </p:ext>
            </p:extLst>
          </p:nvPr>
        </p:nvGraphicFramePr>
        <p:xfrm>
          <a:off x="700226" y="2133600"/>
          <a:ext cx="5410200" cy="3657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706870" y="1015336"/>
            <a:ext cx="10570730" cy="7109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downloads </a:t>
            </a:r>
            <a:r>
              <a:rPr lang="en-US" altLang="zh-CN" sz="1400" kern="0" dirty="0"/>
              <a:t>: the average weekly downloads equals to total downloads from go live till end of this week/number of weeks;  e.g. the average weekly downloads of  CW21=Sum(CW15:CW21)/7</a:t>
            </a:r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downloads </a:t>
            </a:r>
            <a:r>
              <a:rPr lang="en-US" altLang="zh-CN" sz="1400" kern="0" dirty="0"/>
              <a:t>: e.g. the average daily downloads of  CW21= total downloads of CW21/7</a:t>
            </a:r>
          </a:p>
        </p:txBody>
      </p:sp>
      <p:sp>
        <p:nvSpPr>
          <p:cNvPr id="9" name="TextBox 5"/>
          <p:cNvSpPr txBox="1"/>
          <p:nvPr/>
        </p:nvSpPr>
        <p:spPr>
          <a:xfrm>
            <a:off x="5340985" y="2147977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14" name="Chart 7"/>
          <p:cNvGraphicFramePr/>
          <p:nvPr>
            <p:extLst>
              <p:ext uri="{D42A27DB-BD31-4B8C-83A1-F6EECF244321}">
                <p14:modId xmlns:p14="http://schemas.microsoft.com/office/powerpoint/2010/main" val="1537932081"/>
              </p:ext>
            </p:extLst>
          </p:nvPr>
        </p:nvGraphicFramePr>
        <p:xfrm>
          <a:off x="6365874" y="2132965"/>
          <a:ext cx="5370195" cy="3658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5" name="TextBox 5"/>
          <p:cNvSpPr txBox="1"/>
          <p:nvPr/>
        </p:nvSpPr>
        <p:spPr>
          <a:xfrm>
            <a:off x="10981054" y="2150961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498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 downloads 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838200"/>
            <a:ext cx="9964266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Monthly downloads: the number of times that the app was downloaded from App Store(iOS) /Huawei market(Android) </a:t>
            </a:r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                  /Baidu market(Android) per month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>
            <p:extLst>
              <p:ext uri="{D42A27DB-BD31-4B8C-83A1-F6EECF244321}">
                <p14:modId xmlns:p14="http://schemas.microsoft.com/office/powerpoint/2010/main" val="3237581719"/>
              </p:ext>
            </p:extLst>
          </p:nvPr>
        </p:nvGraphicFramePr>
        <p:xfrm>
          <a:off x="706870" y="1447800"/>
          <a:ext cx="9741766" cy="5029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" name="TextBox 5"/>
          <p:cNvSpPr txBox="1"/>
          <p:nvPr/>
        </p:nvSpPr>
        <p:spPr>
          <a:xfrm>
            <a:off x="9601200" y="147943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844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06870" y="459507"/>
            <a:ext cx="11341099" cy="612429"/>
          </a:xfrm>
        </p:spPr>
        <p:txBody>
          <a:bodyPr/>
          <a:lstStyle/>
          <a:p>
            <a:r>
              <a:rPr lang="en-US" dirty="0"/>
              <a:t>Daily active users </a:t>
            </a:r>
            <a:r>
              <a:rPr lang="en-US" altLang="zh-CN" dirty="0"/>
              <a:t>CW03 vs. CW02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06870" y="1015336"/>
            <a:ext cx="4818627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D</a:t>
            </a:r>
            <a:r>
              <a:rPr kumimoji="0" lang="en-US" altLang="zh-CN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aily active</a:t>
            </a:r>
            <a:r>
              <a:rPr lang="en-US" altLang="zh-CN" sz="1400" kern="0" dirty="0"/>
              <a:t> users: the number of users who used the app per day.</a:t>
            </a:r>
            <a:endParaRPr kumimoji="0" lang="en-US" sz="14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8" name="图表 7"/>
          <p:cNvGraphicFramePr/>
          <p:nvPr>
            <p:extLst>
              <p:ext uri="{D42A27DB-BD31-4B8C-83A1-F6EECF244321}">
                <p14:modId xmlns:p14="http://schemas.microsoft.com/office/powerpoint/2010/main" val="2938120662"/>
              </p:ext>
            </p:extLst>
          </p:nvPr>
        </p:nvGraphicFramePr>
        <p:xfrm>
          <a:off x="678481" y="2136303"/>
          <a:ext cx="5284355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5092577" y="2178697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11" name="图表 10">
            <a:extLst>
              <a:ext uri="{FF2B5EF4-FFF2-40B4-BE49-F238E27FC236}">
                <a16:creationId xmlns:a16="http://schemas.microsoft.com/office/drawing/2014/main" id="{D84D5BF1-D46F-4537-BEF5-C4987970CDE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60511938"/>
              </p:ext>
            </p:extLst>
          </p:nvPr>
        </p:nvGraphicFramePr>
        <p:xfrm>
          <a:off x="6203499" y="2136303"/>
          <a:ext cx="5284355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3" name="TextBox 11">
            <a:extLst>
              <a:ext uri="{FF2B5EF4-FFF2-40B4-BE49-F238E27FC236}">
                <a16:creationId xmlns:a16="http://schemas.microsoft.com/office/drawing/2014/main" id="{425B7446-C2A8-458D-BF71-95A44DC721DB}"/>
              </a:ext>
            </a:extLst>
          </p:cNvPr>
          <p:cNvSpPr txBox="1"/>
          <p:nvPr/>
        </p:nvSpPr>
        <p:spPr>
          <a:xfrm>
            <a:off x="10617595" y="2178697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454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</a:t>
            </a:r>
            <a:r>
              <a:rPr lang="en-US" dirty="0"/>
              <a:t> active users </a:t>
            </a:r>
            <a:r>
              <a:rPr lang="en-US" altLang="zh-CN" dirty="0"/>
              <a:t>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5204951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Weekly active users: the number of users who used the app per week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>
            <p:extLst>
              <p:ext uri="{D42A27DB-BD31-4B8C-83A1-F6EECF244321}">
                <p14:modId xmlns:p14="http://schemas.microsoft.com/office/powerpoint/2010/main" val="4217237016"/>
              </p:ext>
            </p:extLst>
          </p:nvPr>
        </p:nvGraphicFramePr>
        <p:xfrm>
          <a:off x="697634" y="1295401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01200" y="1295401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LoLql6RUeuYQ4rLl7q1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1JxiPNwRz.CeyOxFcvlj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XsL_FcQ4ecxtJfZcTn1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rEv0hCRge0U7GucsMpp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rdWBk6QOqdh7N2Sulvn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rdWBk6QOqdh7N2Sulvn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XsL_FcQ4ecxtJfZcTn1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ygviQLyBl83JsV6Plg"/>
</p:tagLst>
</file>

<file path=ppt/theme/theme1.xml><?xml version="1.0" encoding="utf-8"?>
<a:theme xmlns:a="http://schemas.openxmlformats.org/drawingml/2006/main" name="Audi_PPT-Template_16x9_EN">
  <a:themeElements>
    <a:clrScheme name="AUDI 02">
      <a:dk1>
        <a:srgbClr val="000000"/>
      </a:dk1>
      <a:lt1>
        <a:srgbClr val="FFFFFF"/>
      </a:lt1>
      <a:dk2>
        <a:srgbClr val="000000"/>
      </a:dk2>
      <a:lt2>
        <a:srgbClr val="DADADA"/>
      </a:lt2>
      <a:accent1>
        <a:srgbClr val="DADADA"/>
      </a:accent1>
      <a:accent2>
        <a:srgbClr val="C6C6C6"/>
      </a:accent2>
      <a:accent3>
        <a:srgbClr val="9D9D9D"/>
      </a:accent3>
      <a:accent4>
        <a:srgbClr val="575757"/>
      </a:accent4>
      <a:accent5>
        <a:srgbClr val="000000"/>
      </a:accent5>
      <a:accent6>
        <a:srgbClr val="BB0A30"/>
      </a:accent6>
      <a:hlink>
        <a:srgbClr val="000000"/>
      </a:hlink>
      <a:folHlink>
        <a:srgbClr val="C6C6C6"/>
      </a:folHlink>
    </a:clrScheme>
    <a:fontScheme name="Audi">
      <a:majorFont>
        <a:latin typeface="Audi Type Extended"/>
        <a:ea typeface=""/>
        <a:cs typeface=""/>
      </a:majorFont>
      <a:minorFont>
        <a:latin typeface="Audi Type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 cap="sq" cmpd="sng" algn="ctr">
          <a:noFill/>
          <a:prstDash val="solid"/>
          <a:miter lim="800000"/>
        </a:ln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noAutofit/>
      </a:bodyPr>
      <a:lstStyle>
        <a:defPPr algn="l">
          <a:lnSpc>
            <a:spcPct val="110000"/>
          </a:lnSpc>
          <a:spcBef>
            <a:spcPts val="800"/>
          </a:spcBef>
          <a:spcAft>
            <a:spcPts val="600"/>
          </a:spcAft>
          <a:defRPr sz="1400" b="1" smtClean="0">
            <a:solidFill>
              <a:schemeClr val="tx1"/>
            </a:solidFill>
            <a:latin typeface="+mn-lt"/>
          </a:defRPr>
        </a:defPPr>
      </a:lstStyle>
    </a:spDef>
    <a:lnDef>
      <a:spPr>
        <a:noFill/>
        <a:ln w="9525" cap="flat" cmpd="sng" algn="ctr">
          <a:solidFill>
            <a:schemeClr val="tx2"/>
          </a:solidFill>
          <a:prstDash val="solid"/>
        </a:ln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 marL="0" marR="0" indent="0" defTabSz="914400" eaLnBrk="1" fontAlgn="auto" latinLnBrk="0" hangingPunct="1">
          <a:lnSpc>
            <a:spcPct val="11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400" b="0" i="0" u="none" strike="noStrike" kern="0" cap="none" spc="0" normalizeH="0" baseline="0" noProof="0" dirty="0" err="1" smtClean="0">
            <a:ln>
              <a:noFill/>
            </a:ln>
            <a:effectLst/>
            <a:uLnTx/>
            <a:uFillTx/>
          </a:defRPr>
        </a:defPPr>
      </a:lstStyle>
    </a:txDef>
  </a:objectDefaults>
  <a:extraClrSchemeLst/>
  <a:custClrLst>
    <a:custClr name="Audi Red">
      <a:srgbClr val="BB0A30"/>
    </a:custClr>
    <a:custClr name="Green">
      <a:srgbClr val="CACE98"/>
    </a:custClr>
    <a:custClr name="Brown">
      <a:srgbClr val="715D49"/>
    </a:custClr>
    <a:custClr name="Purple">
      <a:srgbClr val="6C4859"/>
    </a:custClr>
    <a:custClr name="Dark Blue">
      <a:srgbClr val="544C70"/>
    </a:custClr>
    <a:custClr name="Light Blue">
      <a:srgbClr val="6682A4"/>
    </a:custClr>
    <a:custClr name="Yellow">
      <a:srgbClr val="FFD671"/>
    </a:custClr>
    <a:custClr name="Audi Red">
      <a:srgbClr val="BB0A30"/>
    </a:custClr>
    <a:custClr name="Traffic light Yellow">
      <a:srgbClr val="FFAA00"/>
    </a:custClr>
    <a:custClr name="Traffic light Green">
      <a:srgbClr val="009900"/>
    </a:custClr>
    <a:custClr name="Aluminium Silver">
      <a:srgbClr val="B3B3B3"/>
    </a:custClr>
    <a:custClr name="Warm Silver">
      <a:srgbClr val="B6B1A9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Larissa">
  <a:themeElements>
    <a:clrScheme name="Audi alt">
      <a:dk1>
        <a:sysClr val="windowText" lastClr="000000"/>
      </a:dk1>
      <a:lt1>
        <a:sysClr val="window" lastClr="FFFFFF"/>
      </a:lt1>
      <a:dk2>
        <a:srgbClr val="6D7579"/>
      </a:dk2>
      <a:lt2>
        <a:srgbClr val="AA142D"/>
      </a:lt2>
      <a:accent1>
        <a:srgbClr val="D5D9D8"/>
      </a:accent1>
      <a:accent2>
        <a:srgbClr val="FFFFFF"/>
      </a:accent2>
      <a:accent3>
        <a:srgbClr val="FFFFFF"/>
      </a:accent3>
      <a:accent4>
        <a:srgbClr val="FFFFFF"/>
      </a:accent4>
      <a:accent5>
        <a:srgbClr val="FFFFFF"/>
      </a:accent5>
      <a:accent6>
        <a:srgbClr val="FFFFFF"/>
      </a:accent6>
      <a:hlink>
        <a:srgbClr val="000000"/>
      </a:hlink>
      <a:folHlink>
        <a:srgbClr val="000000"/>
      </a:folHlink>
    </a:clrScheme>
    <a:fontScheme name="Audi final">
      <a:majorFont>
        <a:latin typeface="Audi Type Extended"/>
        <a:ea typeface=""/>
        <a:cs typeface=""/>
      </a:majorFont>
      <a:minorFont>
        <a:latin typeface="Audi Type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Larissa">
  <a:themeElements>
    <a:clrScheme name="Audi alt">
      <a:dk1>
        <a:sysClr val="windowText" lastClr="000000"/>
      </a:dk1>
      <a:lt1>
        <a:sysClr val="window" lastClr="FFFFFF"/>
      </a:lt1>
      <a:dk2>
        <a:srgbClr val="6D7579"/>
      </a:dk2>
      <a:lt2>
        <a:srgbClr val="AA142D"/>
      </a:lt2>
      <a:accent1>
        <a:srgbClr val="D5D9D8"/>
      </a:accent1>
      <a:accent2>
        <a:srgbClr val="FFFFFF"/>
      </a:accent2>
      <a:accent3>
        <a:srgbClr val="FFFFFF"/>
      </a:accent3>
      <a:accent4>
        <a:srgbClr val="FFFFFF"/>
      </a:accent4>
      <a:accent5>
        <a:srgbClr val="FFFFFF"/>
      </a:accent5>
      <a:accent6>
        <a:srgbClr val="FFFFFF"/>
      </a:accent6>
      <a:hlink>
        <a:srgbClr val="000000"/>
      </a:hlink>
      <a:folHlink>
        <a:srgbClr val="000000"/>
      </a:folHlink>
    </a:clrScheme>
    <a:fontScheme name="Audi final">
      <a:majorFont>
        <a:latin typeface="Audi Type Extended"/>
        <a:ea typeface=""/>
        <a:cs typeface=""/>
      </a:majorFont>
      <a:minorFont>
        <a:latin typeface="Audi Type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16x9 Audi template_confidential</Template>
  <TotalTime>117</TotalTime>
  <Words>2572</Words>
  <Application>Microsoft Office PowerPoint</Application>
  <PresentationFormat>宽屏</PresentationFormat>
  <Paragraphs>483</Paragraphs>
  <Slides>34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34</vt:i4>
      </vt:variant>
    </vt:vector>
  </HeadingPairs>
  <TitlesOfParts>
    <vt:vector size="42" baseType="lpstr">
      <vt:lpstr>Audi Type</vt:lpstr>
      <vt:lpstr>Audi Type Extended</vt:lpstr>
      <vt:lpstr>微软雅黑</vt:lpstr>
      <vt:lpstr>Arial</vt:lpstr>
      <vt:lpstr>Calibri</vt:lpstr>
      <vt:lpstr>Symbol</vt:lpstr>
      <vt:lpstr>Audi_PPT-Template_16x9_EN</vt:lpstr>
      <vt:lpstr>think-cell Slide</vt:lpstr>
      <vt:lpstr>The Weekly Report of Go e-tron App (CW02, 2020)   Jan 13,2020 </vt:lpstr>
      <vt:lpstr>Content</vt:lpstr>
      <vt:lpstr>Data summary  </vt:lpstr>
      <vt:lpstr>Daily downloads CW02 vs. CW01</vt:lpstr>
      <vt:lpstr>Weekly downloads since go live</vt:lpstr>
      <vt:lpstr>Average weekly downloads &amp; average daily downloads</vt:lpstr>
      <vt:lpstr>Monthly downloads since go live </vt:lpstr>
      <vt:lpstr>Daily active users CW03 vs. CW02</vt:lpstr>
      <vt:lpstr>Weekly active users since go live </vt:lpstr>
      <vt:lpstr>Average weekly active users &amp; average daily active users </vt:lpstr>
      <vt:lpstr>Monthly actives users since go live</vt:lpstr>
      <vt:lpstr>Daily journeys CW02 vs. CW01</vt:lpstr>
      <vt:lpstr>Weekly journeys since go live </vt:lpstr>
      <vt:lpstr>Average weekly journeys &amp; average daily journeys</vt:lpstr>
      <vt:lpstr>Monthly journeys since go live</vt:lpstr>
      <vt:lpstr>Daily running time CW02 vs. CW01</vt:lpstr>
      <vt:lpstr>Weekly running time since go live </vt:lpstr>
      <vt:lpstr>Average weekly running time &amp; average daily running time</vt:lpstr>
      <vt:lpstr>Monthly running time since go live </vt:lpstr>
      <vt:lpstr>User activities CW02 vs. CW01</vt:lpstr>
      <vt:lpstr>Weekly user activities since go live</vt:lpstr>
      <vt:lpstr>Average weekly user activities &amp; average daily user activities </vt:lpstr>
      <vt:lpstr>Monthly user activities since go live</vt:lpstr>
      <vt:lpstr>User preferred charging destination analysis CW02 vs. CW01</vt:lpstr>
      <vt:lpstr>Weekly user preferred charging destination analysis since go live</vt:lpstr>
      <vt:lpstr>Average weekly selected times &amp; average daily selected times</vt:lpstr>
      <vt:lpstr>Monthly user preferred charging destination analysis since go live</vt:lpstr>
      <vt:lpstr>Daily recommended times CW02 vs. CW01 </vt:lpstr>
      <vt:lpstr>Weekly recommended times since go live </vt:lpstr>
      <vt:lpstr>Average weekly recommended times &amp; average daily recommended times</vt:lpstr>
      <vt:lpstr>Monthly recommended times since go live</vt:lpstr>
      <vt:lpstr>Tickets/requests report of CW02</vt:lpstr>
      <vt:lpstr>Log &amp; alert review report of CW02  </vt:lpstr>
      <vt:lpstr>SLA report of CW02 </vt:lpstr>
    </vt:vector>
  </TitlesOfParts>
  <Company>Volkswagen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eng, Junge</dc:creator>
  <cp:lastModifiedBy> </cp:lastModifiedBy>
  <cp:revision>1134</cp:revision>
  <dcterms:created xsi:type="dcterms:W3CDTF">2019-06-18T08:03:00Z</dcterms:created>
  <dcterms:modified xsi:type="dcterms:W3CDTF">2020-01-20T08:49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KSOProductBuildVer">
    <vt:lpwstr>2052-11.3.0.8632</vt:lpwstr>
  </property>
</Properties>
</file>